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63" r:id="rId5"/>
  </p:sldMasterIdLst>
  <p:notesMasterIdLst>
    <p:notesMasterId r:id="rId29"/>
  </p:notesMasterIdLst>
  <p:sldIdLst>
    <p:sldId id="278" r:id="rId6"/>
    <p:sldId id="428" r:id="rId7"/>
    <p:sldId id="1582" r:id="rId8"/>
    <p:sldId id="1581" r:id="rId9"/>
    <p:sldId id="1613" r:id="rId10"/>
    <p:sldId id="1614" r:id="rId11"/>
    <p:sldId id="1620" r:id="rId12"/>
    <p:sldId id="1624" r:id="rId13"/>
    <p:sldId id="1621" r:id="rId14"/>
    <p:sldId id="1627" r:id="rId15"/>
    <p:sldId id="1625" r:id="rId16"/>
    <p:sldId id="1622" r:id="rId17"/>
    <p:sldId id="1626" r:id="rId18"/>
    <p:sldId id="1615" r:id="rId19"/>
    <p:sldId id="1616" r:id="rId20"/>
    <p:sldId id="1617" r:id="rId21"/>
    <p:sldId id="1618" r:id="rId22"/>
    <p:sldId id="1619" r:id="rId23"/>
    <p:sldId id="1628" r:id="rId24"/>
    <p:sldId id="1629" r:id="rId25"/>
    <p:sldId id="1623" r:id="rId26"/>
    <p:sldId id="1584" r:id="rId27"/>
    <p:sldId id="1612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4164">
          <p15:clr>
            <a:srgbClr val="A4A3A4"/>
          </p15:clr>
        </p15:guide>
        <p15:guide id="3" orient="horz" pos="3888">
          <p15:clr>
            <a:srgbClr val="A4A3A4"/>
          </p15:clr>
        </p15:guide>
        <p15:guide id="4" orient="horz" pos="3658">
          <p15:clr>
            <a:srgbClr val="A4A3A4"/>
          </p15:clr>
        </p15:guide>
        <p15:guide id="5" pos="3840">
          <p15:clr>
            <a:srgbClr val="A4A3A4"/>
          </p15:clr>
        </p15:guide>
        <p15:guide id="6" pos="305">
          <p15:clr>
            <a:srgbClr val="A4A3A4"/>
          </p15:clr>
        </p15:guide>
        <p15:guide id="7" pos="744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D0CE"/>
    <a:srgbClr val="B1B3B3"/>
    <a:srgbClr val="888B8D"/>
    <a:srgbClr val="63666A"/>
    <a:srgbClr val="739600"/>
    <a:srgbClr val="A22B38"/>
    <a:srgbClr val="F2AA00"/>
    <a:srgbClr val="E87722"/>
    <a:srgbClr val="FFFFFF"/>
    <a:srgbClr val="55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1DEB0C-3D7C-074B-AF0E-FD7DDF8CE4CE}" v="201" dt="2020-06-16T13:05:28.718"/>
  </p1510:revLst>
</p1510:revInfo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84" autoAdjust="0"/>
    <p:restoredTop sz="94786" autoAdjust="0"/>
  </p:normalViewPr>
  <p:slideViewPr>
    <p:cSldViewPr snapToGrid="0">
      <p:cViewPr varScale="1">
        <p:scale>
          <a:sx n="108" d="100"/>
          <a:sy n="108" d="100"/>
        </p:scale>
        <p:origin x="224" y="432"/>
      </p:cViewPr>
      <p:guideLst>
        <p:guide orient="horz" pos="2160"/>
        <p:guide orient="horz" pos="4164"/>
        <p:guide orient="horz" pos="3888"/>
        <p:guide orient="horz" pos="3658"/>
        <p:guide pos="3840"/>
        <p:guide pos="305"/>
        <p:guide pos="74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9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nod, Kakumani" userId="17c44900-94b1-40ff-9c49-4d86853f1883" providerId="ADAL" clId="{8F1DEB0C-3D7C-074B-AF0E-FD7DDF8CE4CE}"/>
    <pc:docChg chg="undo redo custSel addSld delSld modSld sldOrd">
      <pc:chgData name="Vinod, Kakumani" userId="17c44900-94b1-40ff-9c49-4d86853f1883" providerId="ADAL" clId="{8F1DEB0C-3D7C-074B-AF0E-FD7DDF8CE4CE}" dt="2020-06-16T13:05:28.718" v="6150" actId="767"/>
      <pc:docMkLst>
        <pc:docMk/>
      </pc:docMkLst>
      <pc:sldChg chg="addSp modSp">
        <pc:chgData name="Vinod, Kakumani" userId="17c44900-94b1-40ff-9c49-4d86853f1883" providerId="ADAL" clId="{8F1DEB0C-3D7C-074B-AF0E-FD7DDF8CE4CE}" dt="2020-06-16T13:05:28.718" v="6150" actId="767"/>
        <pc:sldMkLst>
          <pc:docMk/>
          <pc:sldMk cId="3072915492" sldId="278"/>
        </pc:sldMkLst>
        <pc:spChg chg="mod">
          <ac:chgData name="Vinod, Kakumani" userId="17c44900-94b1-40ff-9c49-4d86853f1883" providerId="ADAL" clId="{8F1DEB0C-3D7C-074B-AF0E-FD7DDF8CE4CE}" dt="2020-06-14T16:48:13.594" v="140" actId="20577"/>
          <ac:spMkLst>
            <pc:docMk/>
            <pc:sldMk cId="3072915492" sldId="278"/>
            <ac:spMk id="2" creationId="{00000000-0000-0000-0000-000000000000}"/>
          </ac:spMkLst>
        </pc:spChg>
        <pc:spChg chg="mod">
          <ac:chgData name="Vinod, Kakumani" userId="17c44900-94b1-40ff-9c49-4d86853f1883" providerId="ADAL" clId="{8F1DEB0C-3D7C-074B-AF0E-FD7DDF8CE4CE}" dt="2020-06-14T16:46:50.622" v="119" actId="20577"/>
          <ac:spMkLst>
            <pc:docMk/>
            <pc:sldMk cId="3072915492" sldId="278"/>
            <ac:spMk id="3" creationId="{00000000-0000-0000-0000-000000000000}"/>
          </ac:spMkLst>
        </pc:spChg>
        <pc:spChg chg="mod">
          <ac:chgData name="Vinod, Kakumani" userId="17c44900-94b1-40ff-9c49-4d86853f1883" providerId="ADAL" clId="{8F1DEB0C-3D7C-074B-AF0E-FD7DDF8CE4CE}" dt="2020-06-14T16:46:59.102" v="125" actId="20577"/>
          <ac:spMkLst>
            <pc:docMk/>
            <pc:sldMk cId="3072915492" sldId="278"/>
            <ac:spMk id="4" creationId="{00000000-0000-0000-0000-000000000000}"/>
          </ac:spMkLst>
        </pc:spChg>
        <pc:spChg chg="add mod">
          <ac:chgData name="Vinod, Kakumani" userId="17c44900-94b1-40ff-9c49-4d86853f1883" providerId="ADAL" clId="{8F1DEB0C-3D7C-074B-AF0E-FD7DDF8CE4CE}" dt="2020-06-16T13:05:28.718" v="6150" actId="767"/>
          <ac:spMkLst>
            <pc:docMk/>
            <pc:sldMk cId="3072915492" sldId="278"/>
            <ac:spMk id="5" creationId="{CD98AB7A-26A5-674A-9448-E10B68ABFE24}"/>
          </ac:spMkLst>
        </pc:spChg>
      </pc:sldChg>
      <pc:sldChg chg="addSp delSp modSp">
        <pc:chgData name="Vinod, Kakumani" userId="17c44900-94b1-40ff-9c49-4d86853f1883" providerId="ADAL" clId="{8F1DEB0C-3D7C-074B-AF0E-FD7DDF8CE4CE}" dt="2020-06-16T10:59:01.591" v="5711" actId="1076"/>
        <pc:sldMkLst>
          <pc:docMk/>
          <pc:sldMk cId="2007704501" sldId="428"/>
        </pc:sldMkLst>
        <pc:spChg chg="add del mod">
          <ac:chgData name="Vinod, Kakumani" userId="17c44900-94b1-40ff-9c49-4d86853f1883" providerId="ADAL" clId="{8F1DEB0C-3D7C-074B-AF0E-FD7DDF8CE4CE}" dt="2020-06-14T16:49:26.384" v="165"/>
          <ac:spMkLst>
            <pc:docMk/>
            <pc:sldMk cId="2007704501" sldId="428"/>
            <ac:spMk id="2" creationId="{1E0033A2-96C1-A142-9A87-5E6689C7A3D2}"/>
          </ac:spMkLst>
        </pc:spChg>
        <pc:spChg chg="mod">
          <ac:chgData name="Vinod, Kakumani" userId="17c44900-94b1-40ff-9c49-4d86853f1883" providerId="ADAL" clId="{8F1DEB0C-3D7C-074B-AF0E-FD7DDF8CE4CE}" dt="2020-06-14T16:49:13.945" v="154" actId="20577"/>
          <ac:spMkLst>
            <pc:docMk/>
            <pc:sldMk cId="2007704501" sldId="428"/>
            <ac:spMk id="3" creationId="{00000000-0000-0000-0000-000000000000}"/>
          </ac:spMkLst>
        </pc:spChg>
        <pc:spChg chg="add del mod">
          <ac:chgData name="Vinod, Kakumani" userId="17c44900-94b1-40ff-9c49-4d86853f1883" providerId="ADAL" clId="{8F1DEB0C-3D7C-074B-AF0E-FD7DDF8CE4CE}" dt="2020-06-14T16:49:27.740" v="167"/>
          <ac:spMkLst>
            <pc:docMk/>
            <pc:sldMk cId="2007704501" sldId="428"/>
            <ac:spMk id="6" creationId="{00852D7C-24D2-3C4E-B9B5-DE4F3F8257DA}"/>
          </ac:spMkLst>
        </pc:spChg>
        <pc:spChg chg="add del mod">
          <ac:chgData name="Vinod, Kakumani" userId="17c44900-94b1-40ff-9c49-4d86853f1883" providerId="ADAL" clId="{8F1DEB0C-3D7C-074B-AF0E-FD7DDF8CE4CE}" dt="2020-06-14T16:49:25.359" v="163"/>
          <ac:spMkLst>
            <pc:docMk/>
            <pc:sldMk cId="2007704501" sldId="428"/>
            <ac:spMk id="7" creationId="{5E446EEA-C494-1546-A957-7ED307EC07FC}"/>
          </ac:spMkLst>
        </pc:spChg>
        <pc:spChg chg="add mod">
          <ac:chgData name="Vinod, Kakumani" userId="17c44900-94b1-40ff-9c49-4d86853f1883" providerId="ADAL" clId="{8F1DEB0C-3D7C-074B-AF0E-FD7DDF8CE4CE}" dt="2020-06-16T10:59:01.591" v="5711" actId="1076"/>
          <ac:spMkLst>
            <pc:docMk/>
            <pc:sldMk cId="2007704501" sldId="428"/>
            <ac:spMk id="8" creationId="{DCEFC978-998F-094B-B4E3-F2C6FB08D7B5}"/>
          </ac:spMkLst>
        </pc:spChg>
        <pc:spChg chg="del mod">
          <ac:chgData name="Vinod, Kakumani" userId="17c44900-94b1-40ff-9c49-4d86853f1883" providerId="ADAL" clId="{8F1DEB0C-3D7C-074B-AF0E-FD7DDF8CE4CE}" dt="2020-06-14T16:49:53.304" v="171" actId="21"/>
          <ac:spMkLst>
            <pc:docMk/>
            <pc:sldMk cId="2007704501" sldId="428"/>
            <ac:spMk id="9" creationId="{BB09D570-70D2-4052-806C-D63FBAFDE155}"/>
          </ac:spMkLst>
        </pc:spChg>
        <pc:spChg chg="mod">
          <ac:chgData name="Vinod, Kakumani" userId="17c44900-94b1-40ff-9c49-4d86853f1883" providerId="ADAL" clId="{8F1DEB0C-3D7C-074B-AF0E-FD7DDF8CE4CE}" dt="2020-06-14T16:51:50.561" v="202" actId="20577"/>
          <ac:spMkLst>
            <pc:docMk/>
            <pc:sldMk cId="2007704501" sldId="428"/>
            <ac:spMk id="142" creationId="{00000000-0000-0000-0000-000000000000}"/>
          </ac:spMkLst>
        </pc:spChg>
        <pc:picChg chg="del mod">
          <ac:chgData name="Vinod, Kakumani" userId="17c44900-94b1-40ff-9c49-4d86853f1883" providerId="ADAL" clId="{8F1DEB0C-3D7C-074B-AF0E-FD7DDF8CE4CE}" dt="2020-06-14T16:49:15.567" v="156" actId="478"/>
          <ac:picMkLst>
            <pc:docMk/>
            <pc:sldMk cId="2007704501" sldId="428"/>
            <ac:picMk id="4" creationId="{E17D5037-9057-45A0-905C-DAEA1C153359}"/>
          </ac:picMkLst>
        </pc:picChg>
      </pc:sldChg>
      <pc:sldChg chg="del">
        <pc:chgData name="Vinod, Kakumani" userId="17c44900-94b1-40ff-9c49-4d86853f1883" providerId="ADAL" clId="{8F1DEB0C-3D7C-074B-AF0E-FD7DDF8CE4CE}" dt="2020-06-14T16:52:20.890" v="203" actId="2696"/>
        <pc:sldMkLst>
          <pc:docMk/>
          <pc:sldMk cId="47872026" sldId="435"/>
        </pc:sldMkLst>
      </pc:sldChg>
      <pc:sldChg chg="del">
        <pc:chgData name="Vinod, Kakumani" userId="17c44900-94b1-40ff-9c49-4d86853f1883" providerId="ADAL" clId="{8F1DEB0C-3D7C-074B-AF0E-FD7DDF8CE4CE}" dt="2020-06-14T16:57:13.246" v="241" actId="2696"/>
        <pc:sldMkLst>
          <pc:docMk/>
          <pc:sldMk cId="2366364649" sldId="438"/>
        </pc:sldMkLst>
      </pc:sldChg>
      <pc:sldChg chg="add del">
        <pc:chgData name="Vinod, Kakumani" userId="17c44900-94b1-40ff-9c49-4d86853f1883" providerId="ADAL" clId="{8F1DEB0C-3D7C-074B-AF0E-FD7DDF8CE4CE}" dt="2020-06-14T16:56:57.098" v="230" actId="2696"/>
        <pc:sldMkLst>
          <pc:docMk/>
          <pc:sldMk cId="1622683602" sldId="440"/>
        </pc:sldMkLst>
      </pc:sldChg>
      <pc:sldChg chg="del">
        <pc:chgData name="Vinod, Kakumani" userId="17c44900-94b1-40ff-9c49-4d86853f1883" providerId="ADAL" clId="{8F1DEB0C-3D7C-074B-AF0E-FD7DDF8CE4CE}" dt="2020-06-16T07:38:43.328" v="5452" actId="2696"/>
        <pc:sldMkLst>
          <pc:docMk/>
          <pc:sldMk cId="1794480252" sldId="441"/>
        </pc:sldMkLst>
      </pc:sldChg>
      <pc:sldChg chg="del">
        <pc:chgData name="Vinod, Kakumani" userId="17c44900-94b1-40ff-9c49-4d86853f1883" providerId="ADAL" clId="{8F1DEB0C-3D7C-074B-AF0E-FD7DDF8CE4CE}" dt="2020-06-14T16:56:45.287" v="227" actId="2696"/>
        <pc:sldMkLst>
          <pc:docMk/>
          <pc:sldMk cId="364293818" sldId="692"/>
        </pc:sldMkLst>
      </pc:sldChg>
      <pc:sldChg chg="addSp delSp modSp del">
        <pc:chgData name="Vinod, Kakumani" userId="17c44900-94b1-40ff-9c49-4d86853f1883" providerId="ADAL" clId="{8F1DEB0C-3D7C-074B-AF0E-FD7DDF8CE4CE}" dt="2020-06-14T16:52:21.718" v="204" actId="2696"/>
        <pc:sldMkLst>
          <pc:docMk/>
          <pc:sldMk cId="2073634693" sldId="693"/>
        </pc:sldMkLst>
        <pc:spChg chg="add del mod">
          <ac:chgData name="Vinod, Kakumani" userId="17c44900-94b1-40ff-9c49-4d86853f1883" providerId="ADAL" clId="{8F1DEB0C-3D7C-074B-AF0E-FD7DDF8CE4CE}" dt="2020-06-14T16:47:46.025" v="130" actId="21"/>
          <ac:spMkLst>
            <pc:docMk/>
            <pc:sldMk cId="2073634693" sldId="693"/>
            <ac:spMk id="12" creationId="{DE2132CA-C6E7-4ADE-A85A-9E688C4694A3}"/>
          </ac:spMkLst>
        </pc:spChg>
      </pc:sldChg>
      <pc:sldChg chg="del">
        <pc:chgData name="Vinod, Kakumani" userId="17c44900-94b1-40ff-9c49-4d86853f1883" providerId="ADAL" clId="{8F1DEB0C-3D7C-074B-AF0E-FD7DDF8CE4CE}" dt="2020-06-16T07:39:05.946" v="5454" actId="2696"/>
        <pc:sldMkLst>
          <pc:docMk/>
          <pc:sldMk cId="2571281885" sldId="694"/>
        </pc:sldMkLst>
      </pc:sldChg>
      <pc:sldChg chg="ord">
        <pc:chgData name="Vinod, Kakumani" userId="17c44900-94b1-40ff-9c49-4d86853f1883" providerId="ADAL" clId="{8F1DEB0C-3D7C-074B-AF0E-FD7DDF8CE4CE}" dt="2020-06-16T09:16:50.025" v="5703"/>
        <pc:sldMkLst>
          <pc:docMk/>
          <pc:sldMk cId="2953600014" sldId="1581"/>
        </pc:sldMkLst>
      </pc:sldChg>
      <pc:sldChg chg="modSp ord">
        <pc:chgData name="Vinod, Kakumani" userId="17c44900-94b1-40ff-9c49-4d86853f1883" providerId="ADAL" clId="{8F1DEB0C-3D7C-074B-AF0E-FD7DDF8CE4CE}" dt="2020-06-16T09:17:03.925" v="5705"/>
        <pc:sldMkLst>
          <pc:docMk/>
          <pc:sldMk cId="1708025329" sldId="1582"/>
        </pc:sldMkLst>
        <pc:spChg chg="mod">
          <ac:chgData name="Vinod, Kakumani" userId="17c44900-94b1-40ff-9c49-4d86853f1883" providerId="ADAL" clId="{8F1DEB0C-3D7C-074B-AF0E-FD7DDF8CE4CE}" dt="2020-06-16T07:38:02.801" v="5450" actId="20577"/>
          <ac:spMkLst>
            <pc:docMk/>
            <pc:sldMk cId="1708025329" sldId="1582"/>
            <ac:spMk id="11" creationId="{AEB55762-4DF7-BE42-BE84-1543A1408A79}"/>
          </ac:spMkLst>
        </pc:spChg>
      </pc:sldChg>
      <pc:sldChg chg="del">
        <pc:chgData name="Vinod, Kakumani" userId="17c44900-94b1-40ff-9c49-4d86853f1883" providerId="ADAL" clId="{8F1DEB0C-3D7C-074B-AF0E-FD7DDF8CE4CE}" dt="2020-06-16T07:38:51.810" v="5453" actId="2696"/>
        <pc:sldMkLst>
          <pc:docMk/>
          <pc:sldMk cId="263093936" sldId="1583"/>
        </pc:sldMkLst>
      </pc:sldChg>
      <pc:sldChg chg="modSp ord">
        <pc:chgData name="Vinod, Kakumani" userId="17c44900-94b1-40ff-9c49-4d86853f1883" providerId="ADAL" clId="{8F1DEB0C-3D7C-074B-AF0E-FD7DDF8CE4CE}" dt="2020-06-15T13:58:25.096" v="5418" actId="20577"/>
        <pc:sldMkLst>
          <pc:docMk/>
          <pc:sldMk cId="1805591252" sldId="1584"/>
        </pc:sldMkLst>
        <pc:spChg chg="mod">
          <ac:chgData name="Vinod, Kakumani" userId="17c44900-94b1-40ff-9c49-4d86853f1883" providerId="ADAL" clId="{8F1DEB0C-3D7C-074B-AF0E-FD7DDF8CE4CE}" dt="2020-06-15T13:58:25.096" v="5418" actId="20577"/>
          <ac:spMkLst>
            <pc:docMk/>
            <pc:sldMk cId="1805591252" sldId="1584"/>
            <ac:spMk id="9" creationId="{9DCDA118-CBA0-5943-BE11-66D0C3833E53}"/>
          </ac:spMkLst>
        </pc:spChg>
      </pc:sldChg>
      <pc:sldChg chg="modSp del">
        <pc:chgData name="Vinod, Kakumani" userId="17c44900-94b1-40ff-9c49-4d86853f1883" providerId="ADAL" clId="{8F1DEB0C-3D7C-074B-AF0E-FD7DDF8CE4CE}" dt="2020-06-16T08:43:19.436" v="5617" actId="2696"/>
        <pc:sldMkLst>
          <pc:docMk/>
          <pc:sldMk cId="1404833076" sldId="1586"/>
        </pc:sldMkLst>
        <pc:spChg chg="mod">
          <ac:chgData name="Vinod, Kakumani" userId="17c44900-94b1-40ff-9c49-4d86853f1883" providerId="ADAL" clId="{8F1DEB0C-3D7C-074B-AF0E-FD7DDF8CE4CE}" dt="2020-06-16T07:40:48.872" v="5486" actId="20577"/>
          <ac:spMkLst>
            <pc:docMk/>
            <pc:sldMk cId="1404833076" sldId="1586"/>
            <ac:spMk id="3" creationId="{3938021A-19B8-AF42-9579-F723F15090BC}"/>
          </ac:spMkLst>
        </pc:spChg>
      </pc:sldChg>
      <pc:sldChg chg="del">
        <pc:chgData name="Vinod, Kakumani" userId="17c44900-94b1-40ff-9c49-4d86853f1883" providerId="ADAL" clId="{8F1DEB0C-3D7C-074B-AF0E-FD7DDF8CE4CE}" dt="2020-06-16T07:38:42.068" v="5451" actId="2696"/>
        <pc:sldMkLst>
          <pc:docMk/>
          <pc:sldMk cId="1689160051" sldId="1587"/>
        </pc:sldMkLst>
      </pc:sldChg>
      <pc:sldChg chg="del">
        <pc:chgData name="Vinod, Kakumani" userId="17c44900-94b1-40ff-9c49-4d86853f1883" providerId="ADAL" clId="{8F1DEB0C-3D7C-074B-AF0E-FD7DDF8CE4CE}" dt="2020-06-14T16:56:44.100" v="225" actId="2696"/>
        <pc:sldMkLst>
          <pc:docMk/>
          <pc:sldMk cId="548835335" sldId="1588"/>
        </pc:sldMkLst>
      </pc:sldChg>
      <pc:sldChg chg="del">
        <pc:chgData name="Vinod, Kakumani" userId="17c44900-94b1-40ff-9c49-4d86853f1883" providerId="ADAL" clId="{8F1DEB0C-3D7C-074B-AF0E-FD7DDF8CE4CE}" dt="2020-06-14T16:56:44.648" v="226" actId="2696"/>
        <pc:sldMkLst>
          <pc:docMk/>
          <pc:sldMk cId="1746674140" sldId="1589"/>
        </pc:sldMkLst>
      </pc:sldChg>
      <pc:sldChg chg="del">
        <pc:chgData name="Vinod, Kakumani" userId="17c44900-94b1-40ff-9c49-4d86853f1883" providerId="ADAL" clId="{8F1DEB0C-3D7C-074B-AF0E-FD7DDF8CE4CE}" dt="2020-06-14T16:56:58.158" v="232" actId="2696"/>
        <pc:sldMkLst>
          <pc:docMk/>
          <pc:sldMk cId="3476420141" sldId="1590"/>
        </pc:sldMkLst>
      </pc:sldChg>
      <pc:sldChg chg="del">
        <pc:chgData name="Vinod, Kakumani" userId="17c44900-94b1-40ff-9c49-4d86853f1883" providerId="ADAL" clId="{8F1DEB0C-3D7C-074B-AF0E-FD7DDF8CE4CE}" dt="2020-06-14T16:56:57.602" v="231" actId="2696"/>
        <pc:sldMkLst>
          <pc:docMk/>
          <pc:sldMk cId="961342020" sldId="1591"/>
        </pc:sldMkLst>
      </pc:sldChg>
      <pc:sldChg chg="del">
        <pc:chgData name="Vinod, Kakumani" userId="17c44900-94b1-40ff-9c49-4d86853f1883" providerId="ADAL" clId="{8F1DEB0C-3D7C-074B-AF0E-FD7DDF8CE4CE}" dt="2020-06-14T16:57:05.036" v="235" actId="2696"/>
        <pc:sldMkLst>
          <pc:docMk/>
          <pc:sldMk cId="1782747153" sldId="1592"/>
        </pc:sldMkLst>
      </pc:sldChg>
      <pc:sldChg chg="del">
        <pc:chgData name="Vinod, Kakumani" userId="17c44900-94b1-40ff-9c49-4d86853f1883" providerId="ADAL" clId="{8F1DEB0C-3D7C-074B-AF0E-FD7DDF8CE4CE}" dt="2020-06-14T16:56:59.879" v="233" actId="2696"/>
        <pc:sldMkLst>
          <pc:docMk/>
          <pc:sldMk cId="2213101868" sldId="1593"/>
        </pc:sldMkLst>
      </pc:sldChg>
      <pc:sldChg chg="del">
        <pc:chgData name="Vinod, Kakumani" userId="17c44900-94b1-40ff-9c49-4d86853f1883" providerId="ADAL" clId="{8F1DEB0C-3D7C-074B-AF0E-FD7DDF8CE4CE}" dt="2020-06-14T16:57:03.216" v="234" actId="2696"/>
        <pc:sldMkLst>
          <pc:docMk/>
          <pc:sldMk cId="1469898477" sldId="1594"/>
        </pc:sldMkLst>
      </pc:sldChg>
      <pc:sldChg chg="del">
        <pc:chgData name="Vinod, Kakumani" userId="17c44900-94b1-40ff-9c49-4d86853f1883" providerId="ADAL" clId="{8F1DEB0C-3D7C-074B-AF0E-FD7DDF8CE4CE}" dt="2020-06-14T16:57:05.842" v="236" actId="2696"/>
        <pc:sldMkLst>
          <pc:docMk/>
          <pc:sldMk cId="3766856362" sldId="1595"/>
        </pc:sldMkLst>
      </pc:sldChg>
      <pc:sldChg chg="del">
        <pc:chgData name="Vinod, Kakumani" userId="17c44900-94b1-40ff-9c49-4d86853f1883" providerId="ADAL" clId="{8F1DEB0C-3D7C-074B-AF0E-FD7DDF8CE4CE}" dt="2020-06-14T16:57:06.690" v="237" actId="2696"/>
        <pc:sldMkLst>
          <pc:docMk/>
          <pc:sldMk cId="1674055401" sldId="1596"/>
        </pc:sldMkLst>
      </pc:sldChg>
      <pc:sldChg chg="del">
        <pc:chgData name="Vinod, Kakumani" userId="17c44900-94b1-40ff-9c49-4d86853f1883" providerId="ADAL" clId="{8F1DEB0C-3D7C-074B-AF0E-FD7DDF8CE4CE}" dt="2020-06-14T16:57:07.431" v="238" actId="2696"/>
        <pc:sldMkLst>
          <pc:docMk/>
          <pc:sldMk cId="1656699304" sldId="1597"/>
        </pc:sldMkLst>
      </pc:sldChg>
      <pc:sldChg chg="del">
        <pc:chgData name="Vinod, Kakumani" userId="17c44900-94b1-40ff-9c49-4d86853f1883" providerId="ADAL" clId="{8F1DEB0C-3D7C-074B-AF0E-FD7DDF8CE4CE}" dt="2020-06-14T16:57:09.494" v="240" actId="2696"/>
        <pc:sldMkLst>
          <pc:docMk/>
          <pc:sldMk cId="3844654957" sldId="1599"/>
        </pc:sldMkLst>
      </pc:sldChg>
      <pc:sldChg chg="del">
        <pc:chgData name="Vinod, Kakumani" userId="17c44900-94b1-40ff-9c49-4d86853f1883" providerId="ADAL" clId="{8F1DEB0C-3D7C-074B-AF0E-FD7DDF8CE4CE}" dt="2020-06-14T16:57:14.800" v="242" actId="2696"/>
        <pc:sldMkLst>
          <pc:docMk/>
          <pc:sldMk cId="175284198" sldId="1600"/>
        </pc:sldMkLst>
      </pc:sldChg>
      <pc:sldChg chg="del">
        <pc:chgData name="Vinod, Kakumani" userId="17c44900-94b1-40ff-9c49-4d86853f1883" providerId="ADAL" clId="{8F1DEB0C-3D7C-074B-AF0E-FD7DDF8CE4CE}" dt="2020-06-14T16:57:08.495" v="239" actId="2696"/>
        <pc:sldMkLst>
          <pc:docMk/>
          <pc:sldMk cId="2445721500" sldId="1601"/>
        </pc:sldMkLst>
      </pc:sldChg>
      <pc:sldChg chg="del">
        <pc:chgData name="Vinod, Kakumani" userId="17c44900-94b1-40ff-9c49-4d86853f1883" providerId="ADAL" clId="{8F1DEB0C-3D7C-074B-AF0E-FD7DDF8CE4CE}" dt="2020-06-14T16:57:23.359" v="248" actId="2696"/>
        <pc:sldMkLst>
          <pc:docMk/>
          <pc:sldMk cId="2919771427" sldId="1602"/>
        </pc:sldMkLst>
      </pc:sldChg>
      <pc:sldChg chg="del">
        <pc:chgData name="Vinod, Kakumani" userId="17c44900-94b1-40ff-9c49-4d86853f1883" providerId="ADAL" clId="{8F1DEB0C-3D7C-074B-AF0E-FD7DDF8CE4CE}" dt="2020-06-14T16:57:17.516" v="244" actId="2696"/>
        <pc:sldMkLst>
          <pc:docMk/>
          <pc:sldMk cId="2994000805" sldId="1603"/>
        </pc:sldMkLst>
      </pc:sldChg>
      <pc:sldChg chg="del">
        <pc:chgData name="Vinod, Kakumani" userId="17c44900-94b1-40ff-9c49-4d86853f1883" providerId="ADAL" clId="{8F1DEB0C-3D7C-074B-AF0E-FD7DDF8CE4CE}" dt="2020-06-14T16:57:19.514" v="245" actId="2696"/>
        <pc:sldMkLst>
          <pc:docMk/>
          <pc:sldMk cId="2696419147" sldId="1604"/>
        </pc:sldMkLst>
      </pc:sldChg>
      <pc:sldChg chg="del">
        <pc:chgData name="Vinod, Kakumani" userId="17c44900-94b1-40ff-9c49-4d86853f1883" providerId="ADAL" clId="{8F1DEB0C-3D7C-074B-AF0E-FD7DDF8CE4CE}" dt="2020-06-14T16:57:21.183" v="246" actId="2696"/>
        <pc:sldMkLst>
          <pc:docMk/>
          <pc:sldMk cId="1669296690" sldId="1605"/>
        </pc:sldMkLst>
      </pc:sldChg>
      <pc:sldChg chg="del">
        <pc:chgData name="Vinod, Kakumani" userId="17c44900-94b1-40ff-9c49-4d86853f1883" providerId="ADAL" clId="{8F1DEB0C-3D7C-074B-AF0E-FD7DDF8CE4CE}" dt="2020-06-14T16:57:16.145" v="243" actId="2696"/>
        <pc:sldMkLst>
          <pc:docMk/>
          <pc:sldMk cId="3421053451" sldId="1606"/>
        </pc:sldMkLst>
      </pc:sldChg>
      <pc:sldChg chg="del">
        <pc:chgData name="Vinod, Kakumani" userId="17c44900-94b1-40ff-9c49-4d86853f1883" providerId="ADAL" clId="{8F1DEB0C-3D7C-074B-AF0E-FD7DDF8CE4CE}" dt="2020-06-14T16:57:22.640" v="247" actId="2696"/>
        <pc:sldMkLst>
          <pc:docMk/>
          <pc:sldMk cId="979501803" sldId="1607"/>
        </pc:sldMkLst>
      </pc:sldChg>
      <pc:sldChg chg="del">
        <pc:chgData name="Vinod, Kakumani" userId="17c44900-94b1-40ff-9c49-4d86853f1883" providerId="ADAL" clId="{8F1DEB0C-3D7C-074B-AF0E-FD7DDF8CE4CE}" dt="2020-06-14T16:57:24.531" v="249" actId="2696"/>
        <pc:sldMkLst>
          <pc:docMk/>
          <pc:sldMk cId="2430817841" sldId="1610"/>
        </pc:sldMkLst>
      </pc:sldChg>
      <pc:sldChg chg="del">
        <pc:chgData name="Vinod, Kakumani" userId="17c44900-94b1-40ff-9c49-4d86853f1883" providerId="ADAL" clId="{8F1DEB0C-3D7C-074B-AF0E-FD7DDF8CE4CE}" dt="2020-06-14T16:57:25.275" v="250" actId="2696"/>
        <pc:sldMkLst>
          <pc:docMk/>
          <pc:sldMk cId="1810377207" sldId="1611"/>
        </pc:sldMkLst>
      </pc:sldChg>
      <pc:sldChg chg="delSp modSp new ord">
        <pc:chgData name="Vinod, Kakumani" userId="17c44900-94b1-40ff-9c49-4d86853f1883" providerId="ADAL" clId="{8F1DEB0C-3D7C-074B-AF0E-FD7DDF8CE4CE}" dt="2020-06-14T17:14:32.606" v="786" actId="20577"/>
        <pc:sldMkLst>
          <pc:docMk/>
          <pc:sldMk cId="3730691463" sldId="1613"/>
        </pc:sldMkLst>
        <pc:spChg chg="mod">
          <ac:chgData name="Vinod, Kakumani" userId="17c44900-94b1-40ff-9c49-4d86853f1883" providerId="ADAL" clId="{8F1DEB0C-3D7C-074B-AF0E-FD7DDF8CE4CE}" dt="2020-06-14T16:58:26.393" v="294" actId="20577"/>
          <ac:spMkLst>
            <pc:docMk/>
            <pc:sldMk cId="3730691463" sldId="1613"/>
            <ac:spMk id="2" creationId="{8B872320-888B-FB4E-A6D5-851E8C45E8CE}"/>
          </ac:spMkLst>
        </pc:spChg>
        <pc:spChg chg="mod">
          <ac:chgData name="Vinod, Kakumani" userId="17c44900-94b1-40ff-9c49-4d86853f1883" providerId="ADAL" clId="{8F1DEB0C-3D7C-074B-AF0E-FD7DDF8CE4CE}" dt="2020-06-14T17:14:32.606" v="786" actId="20577"/>
          <ac:spMkLst>
            <pc:docMk/>
            <pc:sldMk cId="3730691463" sldId="1613"/>
            <ac:spMk id="3" creationId="{909E021D-4989-E146-9E06-3A3A6175F38B}"/>
          </ac:spMkLst>
        </pc:spChg>
        <pc:spChg chg="del">
          <ac:chgData name="Vinod, Kakumani" userId="17c44900-94b1-40ff-9c49-4d86853f1883" providerId="ADAL" clId="{8F1DEB0C-3D7C-074B-AF0E-FD7DDF8CE4CE}" dt="2020-06-14T16:58:49.265" v="295" actId="478"/>
          <ac:spMkLst>
            <pc:docMk/>
            <pc:sldMk cId="3730691463" sldId="1613"/>
            <ac:spMk id="4" creationId="{A9AFAC34-8BD1-8F47-BC86-BE91F014FFAE}"/>
          </ac:spMkLst>
        </pc:spChg>
      </pc:sldChg>
      <pc:sldChg chg="addSp delSp modSp new ord">
        <pc:chgData name="Vinod, Kakumani" userId="17c44900-94b1-40ff-9c49-4d86853f1883" providerId="ADAL" clId="{8F1DEB0C-3D7C-074B-AF0E-FD7DDF8CE4CE}" dt="2020-06-16T11:00:01.508" v="5723" actId="5793"/>
        <pc:sldMkLst>
          <pc:docMk/>
          <pc:sldMk cId="4114903162" sldId="1614"/>
        </pc:sldMkLst>
        <pc:spChg chg="mod">
          <ac:chgData name="Vinod, Kakumani" userId="17c44900-94b1-40ff-9c49-4d86853f1883" providerId="ADAL" clId="{8F1DEB0C-3D7C-074B-AF0E-FD7DDF8CE4CE}" dt="2020-06-14T17:37:11.194" v="1255" actId="12"/>
          <ac:spMkLst>
            <pc:docMk/>
            <pc:sldMk cId="4114903162" sldId="1614"/>
            <ac:spMk id="2" creationId="{F9C4AB81-A973-174D-8FB0-0C6B986DFC9F}"/>
          </ac:spMkLst>
        </pc:spChg>
        <pc:spChg chg="mod">
          <ac:chgData name="Vinod, Kakumani" userId="17c44900-94b1-40ff-9c49-4d86853f1883" providerId="ADAL" clId="{8F1DEB0C-3D7C-074B-AF0E-FD7DDF8CE4CE}" dt="2020-06-16T11:00:01.508" v="5723" actId="5793"/>
          <ac:spMkLst>
            <pc:docMk/>
            <pc:sldMk cId="4114903162" sldId="1614"/>
            <ac:spMk id="3" creationId="{D953FF2C-2A56-4E4D-9610-E23142EA2B3C}"/>
          </ac:spMkLst>
        </pc:spChg>
        <pc:spChg chg="del">
          <ac:chgData name="Vinod, Kakumani" userId="17c44900-94b1-40ff-9c49-4d86853f1883" providerId="ADAL" clId="{8F1DEB0C-3D7C-074B-AF0E-FD7DDF8CE4CE}" dt="2020-06-14T17:06:42.593" v="490" actId="478"/>
          <ac:spMkLst>
            <pc:docMk/>
            <pc:sldMk cId="4114903162" sldId="1614"/>
            <ac:spMk id="4" creationId="{53FCEC37-B960-1044-A98E-19EBD3902CEA}"/>
          </ac:spMkLst>
        </pc:spChg>
        <pc:spChg chg="add del mod">
          <ac:chgData name="Vinod, Kakumani" userId="17c44900-94b1-40ff-9c49-4d86853f1883" providerId="ADAL" clId="{8F1DEB0C-3D7C-074B-AF0E-FD7DDF8CE4CE}" dt="2020-06-14T17:06:40.106" v="489"/>
          <ac:spMkLst>
            <pc:docMk/>
            <pc:sldMk cId="4114903162" sldId="1614"/>
            <ac:spMk id="6" creationId="{722BBE27-B755-AD48-B08A-DA67A9D02D4F}"/>
          </ac:spMkLst>
        </pc:spChg>
        <pc:spChg chg="add del mod">
          <ac:chgData name="Vinod, Kakumani" userId="17c44900-94b1-40ff-9c49-4d86853f1883" providerId="ADAL" clId="{8F1DEB0C-3D7C-074B-AF0E-FD7DDF8CE4CE}" dt="2020-06-14T17:25:10.706" v="1002"/>
          <ac:spMkLst>
            <pc:docMk/>
            <pc:sldMk cId="4114903162" sldId="1614"/>
            <ac:spMk id="7" creationId="{E412AAA3-E031-8545-AC02-7A4722EFA94F}"/>
          </ac:spMkLst>
        </pc:spChg>
      </pc:sldChg>
      <pc:sldChg chg="new del">
        <pc:chgData name="Vinod, Kakumani" userId="17c44900-94b1-40ff-9c49-4d86853f1883" providerId="ADAL" clId="{8F1DEB0C-3D7C-074B-AF0E-FD7DDF8CE4CE}" dt="2020-06-14T17:13:19.963" v="747" actId="680"/>
        <pc:sldMkLst>
          <pc:docMk/>
          <pc:sldMk cId="103502647" sldId="1615"/>
        </pc:sldMkLst>
      </pc:sldChg>
      <pc:sldChg chg="delSp modSp new">
        <pc:chgData name="Vinod, Kakumani" userId="17c44900-94b1-40ff-9c49-4d86853f1883" providerId="ADAL" clId="{8F1DEB0C-3D7C-074B-AF0E-FD7DDF8CE4CE}" dt="2020-06-15T13:04:53.607" v="3499" actId="20577"/>
        <pc:sldMkLst>
          <pc:docMk/>
          <pc:sldMk cId="390224455" sldId="1615"/>
        </pc:sldMkLst>
        <pc:spChg chg="mod">
          <ac:chgData name="Vinod, Kakumani" userId="17c44900-94b1-40ff-9c49-4d86853f1883" providerId="ADAL" clId="{8F1DEB0C-3D7C-074B-AF0E-FD7DDF8CE4CE}" dt="2020-06-14T17:37:02.954" v="1251" actId="12"/>
          <ac:spMkLst>
            <pc:docMk/>
            <pc:sldMk cId="390224455" sldId="1615"/>
            <ac:spMk id="2" creationId="{15580657-0374-D64D-83BA-ACF461DF8D47}"/>
          </ac:spMkLst>
        </pc:spChg>
        <pc:spChg chg="mod">
          <ac:chgData name="Vinod, Kakumani" userId="17c44900-94b1-40ff-9c49-4d86853f1883" providerId="ADAL" clId="{8F1DEB0C-3D7C-074B-AF0E-FD7DDF8CE4CE}" dt="2020-06-15T13:04:53.607" v="3499" actId="20577"/>
          <ac:spMkLst>
            <pc:docMk/>
            <pc:sldMk cId="390224455" sldId="1615"/>
            <ac:spMk id="3" creationId="{11440AD0-EF46-3946-9B49-3C051F1FCD8D}"/>
          </ac:spMkLst>
        </pc:spChg>
        <pc:spChg chg="del mod">
          <ac:chgData name="Vinod, Kakumani" userId="17c44900-94b1-40ff-9c49-4d86853f1883" providerId="ADAL" clId="{8F1DEB0C-3D7C-074B-AF0E-FD7DDF8CE4CE}" dt="2020-06-14T17:13:46.907" v="783" actId="478"/>
          <ac:spMkLst>
            <pc:docMk/>
            <pc:sldMk cId="390224455" sldId="1615"/>
            <ac:spMk id="4" creationId="{029F835C-94C0-BA4E-8B3C-588D860D9842}"/>
          </ac:spMkLst>
        </pc:spChg>
      </pc:sldChg>
      <pc:sldChg chg="addSp delSp modSp new">
        <pc:chgData name="Vinod, Kakumani" userId="17c44900-94b1-40ff-9c49-4d86853f1883" providerId="ADAL" clId="{8F1DEB0C-3D7C-074B-AF0E-FD7DDF8CE4CE}" dt="2020-06-15T13:38:15.251" v="4453" actId="20577"/>
        <pc:sldMkLst>
          <pc:docMk/>
          <pc:sldMk cId="3808713461" sldId="1616"/>
        </pc:sldMkLst>
        <pc:spChg chg="mod">
          <ac:chgData name="Vinod, Kakumani" userId="17c44900-94b1-40ff-9c49-4d86853f1883" providerId="ADAL" clId="{8F1DEB0C-3D7C-074B-AF0E-FD7DDF8CE4CE}" dt="2020-06-14T17:36:58.541" v="1249" actId="12"/>
          <ac:spMkLst>
            <pc:docMk/>
            <pc:sldMk cId="3808713461" sldId="1616"/>
            <ac:spMk id="2" creationId="{C80151DD-665A-384F-9179-6AC4FB40525F}"/>
          </ac:spMkLst>
        </pc:spChg>
        <pc:spChg chg="mod">
          <ac:chgData name="Vinod, Kakumani" userId="17c44900-94b1-40ff-9c49-4d86853f1883" providerId="ADAL" clId="{8F1DEB0C-3D7C-074B-AF0E-FD7DDF8CE4CE}" dt="2020-06-15T13:38:15.251" v="4453" actId="20577"/>
          <ac:spMkLst>
            <pc:docMk/>
            <pc:sldMk cId="3808713461" sldId="1616"/>
            <ac:spMk id="3" creationId="{2504E95E-8BD7-3241-954C-7A090F3FBAFA}"/>
          </ac:spMkLst>
        </pc:spChg>
        <pc:spChg chg="del mod">
          <ac:chgData name="Vinod, Kakumani" userId="17c44900-94b1-40ff-9c49-4d86853f1883" providerId="ADAL" clId="{8F1DEB0C-3D7C-074B-AF0E-FD7DDF8CE4CE}" dt="2020-06-14T17:14:55.493" v="807" actId="478"/>
          <ac:spMkLst>
            <pc:docMk/>
            <pc:sldMk cId="3808713461" sldId="1616"/>
            <ac:spMk id="4" creationId="{B29B52DC-42BF-1D40-A1C6-9DAE43BBB613}"/>
          </ac:spMkLst>
        </pc:spChg>
        <pc:spChg chg="add del mod">
          <ac:chgData name="Vinod, Kakumani" userId="17c44900-94b1-40ff-9c49-4d86853f1883" providerId="ADAL" clId="{8F1DEB0C-3D7C-074B-AF0E-FD7DDF8CE4CE}" dt="2020-06-15T13:29:00.829" v="4209"/>
          <ac:spMkLst>
            <pc:docMk/>
            <pc:sldMk cId="3808713461" sldId="1616"/>
            <ac:spMk id="6" creationId="{2565E8C6-4948-084D-85BB-DEDD220F76E2}"/>
          </ac:spMkLst>
        </pc:spChg>
        <pc:spChg chg="add del mod">
          <ac:chgData name="Vinod, Kakumani" userId="17c44900-94b1-40ff-9c49-4d86853f1883" providerId="ADAL" clId="{8F1DEB0C-3D7C-074B-AF0E-FD7DDF8CE4CE}" dt="2020-06-15T13:34:33.700" v="4323"/>
          <ac:spMkLst>
            <pc:docMk/>
            <pc:sldMk cId="3808713461" sldId="1616"/>
            <ac:spMk id="7" creationId="{5E47FC3C-61D7-134A-A1A9-32B41C4F4310}"/>
          </ac:spMkLst>
        </pc:spChg>
      </pc:sldChg>
      <pc:sldChg chg="addSp delSp modSp new">
        <pc:chgData name="Vinod, Kakumani" userId="17c44900-94b1-40ff-9c49-4d86853f1883" providerId="ADAL" clId="{8F1DEB0C-3D7C-074B-AF0E-FD7DDF8CE4CE}" dt="2020-06-15T13:39:50.017" v="4490"/>
        <pc:sldMkLst>
          <pc:docMk/>
          <pc:sldMk cId="1966097012" sldId="1617"/>
        </pc:sldMkLst>
        <pc:spChg chg="mod">
          <ac:chgData name="Vinod, Kakumani" userId="17c44900-94b1-40ff-9c49-4d86853f1883" providerId="ADAL" clId="{8F1DEB0C-3D7C-074B-AF0E-FD7DDF8CE4CE}" dt="2020-06-14T17:36:54.408" v="1247" actId="12"/>
          <ac:spMkLst>
            <pc:docMk/>
            <pc:sldMk cId="1966097012" sldId="1617"/>
            <ac:spMk id="2" creationId="{448EDE03-8418-304F-9374-A1A747D5AF0C}"/>
          </ac:spMkLst>
        </pc:spChg>
        <pc:spChg chg="mod">
          <ac:chgData name="Vinod, Kakumani" userId="17c44900-94b1-40ff-9c49-4d86853f1883" providerId="ADAL" clId="{8F1DEB0C-3D7C-074B-AF0E-FD7DDF8CE4CE}" dt="2020-06-15T13:39:47.767" v="4488" actId="20577"/>
          <ac:spMkLst>
            <pc:docMk/>
            <pc:sldMk cId="1966097012" sldId="1617"/>
            <ac:spMk id="3" creationId="{2355A016-D15F-8448-86C3-21A1E07BAE31}"/>
          </ac:spMkLst>
        </pc:spChg>
        <pc:spChg chg="del">
          <ac:chgData name="Vinod, Kakumani" userId="17c44900-94b1-40ff-9c49-4d86853f1883" providerId="ADAL" clId="{8F1DEB0C-3D7C-074B-AF0E-FD7DDF8CE4CE}" dt="2020-06-14T17:16:00.737" v="836" actId="478"/>
          <ac:spMkLst>
            <pc:docMk/>
            <pc:sldMk cId="1966097012" sldId="1617"/>
            <ac:spMk id="4" creationId="{2339B1D9-6FE9-124A-802C-E2EA2B832A6E}"/>
          </ac:spMkLst>
        </pc:spChg>
        <pc:spChg chg="add del mod">
          <ac:chgData name="Vinod, Kakumani" userId="17c44900-94b1-40ff-9c49-4d86853f1883" providerId="ADAL" clId="{8F1DEB0C-3D7C-074B-AF0E-FD7DDF8CE4CE}" dt="2020-06-15T13:39:50.017" v="4490"/>
          <ac:spMkLst>
            <pc:docMk/>
            <pc:sldMk cId="1966097012" sldId="1617"/>
            <ac:spMk id="6" creationId="{53D17517-73D1-8F45-B9C7-C19393082E9B}"/>
          </ac:spMkLst>
        </pc:spChg>
      </pc:sldChg>
      <pc:sldChg chg="addSp delSp modSp new">
        <pc:chgData name="Vinod, Kakumani" userId="17c44900-94b1-40ff-9c49-4d86853f1883" providerId="ADAL" clId="{8F1DEB0C-3D7C-074B-AF0E-FD7DDF8CE4CE}" dt="2020-06-15T13:50:57.008" v="5182" actId="207"/>
        <pc:sldMkLst>
          <pc:docMk/>
          <pc:sldMk cId="204122705" sldId="1618"/>
        </pc:sldMkLst>
        <pc:spChg chg="mod">
          <ac:chgData name="Vinod, Kakumani" userId="17c44900-94b1-40ff-9c49-4d86853f1883" providerId="ADAL" clId="{8F1DEB0C-3D7C-074B-AF0E-FD7DDF8CE4CE}" dt="2020-06-14T17:36:50.121" v="1245" actId="122"/>
          <ac:spMkLst>
            <pc:docMk/>
            <pc:sldMk cId="204122705" sldId="1618"/>
            <ac:spMk id="2" creationId="{57E54146-E972-084A-88E9-4B0E34B2B091}"/>
          </ac:spMkLst>
        </pc:spChg>
        <pc:spChg chg="mod">
          <ac:chgData name="Vinod, Kakumani" userId="17c44900-94b1-40ff-9c49-4d86853f1883" providerId="ADAL" clId="{8F1DEB0C-3D7C-074B-AF0E-FD7DDF8CE4CE}" dt="2020-06-15T13:50:57.008" v="5182" actId="207"/>
          <ac:spMkLst>
            <pc:docMk/>
            <pc:sldMk cId="204122705" sldId="1618"/>
            <ac:spMk id="3" creationId="{174B3749-A50E-F946-9BF3-3453EF3B245C}"/>
          </ac:spMkLst>
        </pc:spChg>
        <pc:spChg chg="del">
          <ac:chgData name="Vinod, Kakumani" userId="17c44900-94b1-40ff-9c49-4d86853f1883" providerId="ADAL" clId="{8F1DEB0C-3D7C-074B-AF0E-FD7DDF8CE4CE}" dt="2020-06-14T17:18:38.367" v="921" actId="478"/>
          <ac:spMkLst>
            <pc:docMk/>
            <pc:sldMk cId="204122705" sldId="1618"/>
            <ac:spMk id="4" creationId="{97791971-7F2C-4C42-AC53-4FD1A6A5FD23}"/>
          </ac:spMkLst>
        </pc:spChg>
        <pc:spChg chg="add del mod">
          <ac:chgData name="Vinod, Kakumani" userId="17c44900-94b1-40ff-9c49-4d86853f1883" providerId="ADAL" clId="{8F1DEB0C-3D7C-074B-AF0E-FD7DDF8CE4CE}" dt="2020-06-14T17:18:51.896" v="926"/>
          <ac:spMkLst>
            <pc:docMk/>
            <pc:sldMk cId="204122705" sldId="1618"/>
            <ac:spMk id="6" creationId="{B3C80887-A7EB-E34A-A065-F8AFDB841E3E}"/>
          </ac:spMkLst>
        </pc:spChg>
        <pc:spChg chg="add del mod">
          <ac:chgData name="Vinod, Kakumani" userId="17c44900-94b1-40ff-9c49-4d86853f1883" providerId="ADAL" clId="{8F1DEB0C-3D7C-074B-AF0E-FD7DDF8CE4CE}" dt="2020-06-15T13:50:45.268" v="5181"/>
          <ac:spMkLst>
            <pc:docMk/>
            <pc:sldMk cId="204122705" sldId="1618"/>
            <ac:spMk id="7" creationId="{E32905A3-38B1-E045-BC7E-30CBC7D0EE4D}"/>
          </ac:spMkLst>
        </pc:spChg>
      </pc:sldChg>
      <pc:sldChg chg="addSp delSp modSp new">
        <pc:chgData name="Vinod, Kakumani" userId="17c44900-94b1-40ff-9c49-4d86853f1883" providerId="ADAL" clId="{8F1DEB0C-3D7C-074B-AF0E-FD7DDF8CE4CE}" dt="2020-06-15T13:52:40.290" v="5283"/>
        <pc:sldMkLst>
          <pc:docMk/>
          <pc:sldMk cId="532395513" sldId="1619"/>
        </pc:sldMkLst>
        <pc:spChg chg="mod">
          <ac:chgData name="Vinod, Kakumani" userId="17c44900-94b1-40ff-9c49-4d86853f1883" providerId="ADAL" clId="{8F1DEB0C-3D7C-074B-AF0E-FD7DDF8CE4CE}" dt="2020-06-14T17:36:42.972" v="1243" actId="122"/>
          <ac:spMkLst>
            <pc:docMk/>
            <pc:sldMk cId="532395513" sldId="1619"/>
            <ac:spMk id="2" creationId="{049A1F9A-36CE-3F48-A2DE-FAABFE61AD44}"/>
          </ac:spMkLst>
        </pc:spChg>
        <pc:spChg chg="mod">
          <ac:chgData name="Vinod, Kakumani" userId="17c44900-94b1-40ff-9c49-4d86853f1883" providerId="ADAL" clId="{8F1DEB0C-3D7C-074B-AF0E-FD7DDF8CE4CE}" dt="2020-06-15T13:52:33.598" v="5280" actId="20577"/>
          <ac:spMkLst>
            <pc:docMk/>
            <pc:sldMk cId="532395513" sldId="1619"/>
            <ac:spMk id="3" creationId="{CA769729-8E1C-074F-A9D1-A878A3BFFABE}"/>
          </ac:spMkLst>
        </pc:spChg>
        <pc:spChg chg="del">
          <ac:chgData name="Vinod, Kakumani" userId="17c44900-94b1-40ff-9c49-4d86853f1883" providerId="ADAL" clId="{8F1DEB0C-3D7C-074B-AF0E-FD7DDF8CE4CE}" dt="2020-06-14T17:20:48.737" v="956" actId="478"/>
          <ac:spMkLst>
            <pc:docMk/>
            <pc:sldMk cId="532395513" sldId="1619"/>
            <ac:spMk id="4" creationId="{AAD9105F-E7DE-494D-883D-E2070D0D3418}"/>
          </ac:spMkLst>
        </pc:spChg>
        <pc:spChg chg="add del mod">
          <ac:chgData name="Vinod, Kakumani" userId="17c44900-94b1-40ff-9c49-4d86853f1883" providerId="ADAL" clId="{8F1DEB0C-3D7C-074B-AF0E-FD7DDF8CE4CE}" dt="2020-06-15T13:52:40.290" v="5283"/>
          <ac:spMkLst>
            <pc:docMk/>
            <pc:sldMk cId="532395513" sldId="1619"/>
            <ac:spMk id="6" creationId="{6EB54393-5012-5C44-BD26-86EBE7B8090B}"/>
          </ac:spMkLst>
        </pc:spChg>
      </pc:sldChg>
      <pc:sldChg chg="delSp modSp new ord">
        <pc:chgData name="Vinod, Kakumani" userId="17c44900-94b1-40ff-9c49-4d86853f1883" providerId="ADAL" clId="{8F1DEB0C-3D7C-074B-AF0E-FD7DDF8CE4CE}" dt="2020-06-16T11:00:13.545" v="5724"/>
        <pc:sldMkLst>
          <pc:docMk/>
          <pc:sldMk cId="2284276272" sldId="1620"/>
        </pc:sldMkLst>
        <pc:spChg chg="mod">
          <ac:chgData name="Vinod, Kakumani" userId="17c44900-94b1-40ff-9c49-4d86853f1883" providerId="ADAL" clId="{8F1DEB0C-3D7C-074B-AF0E-FD7DDF8CE4CE}" dt="2020-06-14T17:40:49.861" v="1268" actId="12"/>
          <ac:spMkLst>
            <pc:docMk/>
            <pc:sldMk cId="2284276272" sldId="1620"/>
            <ac:spMk id="2" creationId="{1AFD1187-60D0-414D-9E05-F42618FCA0FA}"/>
          </ac:spMkLst>
        </pc:spChg>
        <pc:spChg chg="mod">
          <ac:chgData name="Vinod, Kakumani" userId="17c44900-94b1-40ff-9c49-4d86853f1883" providerId="ADAL" clId="{8F1DEB0C-3D7C-074B-AF0E-FD7DDF8CE4CE}" dt="2020-06-14T17:41:18.972" v="1309" actId="20577"/>
          <ac:spMkLst>
            <pc:docMk/>
            <pc:sldMk cId="2284276272" sldId="1620"/>
            <ac:spMk id="3" creationId="{E7D24C2F-94F0-C74D-B87B-B430661B2101}"/>
          </ac:spMkLst>
        </pc:spChg>
        <pc:spChg chg="del">
          <ac:chgData name="Vinod, Kakumani" userId="17c44900-94b1-40ff-9c49-4d86853f1883" providerId="ADAL" clId="{8F1DEB0C-3D7C-074B-AF0E-FD7DDF8CE4CE}" dt="2020-06-14T17:25:50.790" v="1048" actId="478"/>
          <ac:spMkLst>
            <pc:docMk/>
            <pc:sldMk cId="2284276272" sldId="1620"/>
            <ac:spMk id="4" creationId="{EFD87FC6-C6EF-FB42-AC91-B85CEA89D41B}"/>
          </ac:spMkLst>
        </pc:spChg>
      </pc:sldChg>
      <pc:sldChg chg="addSp delSp modSp new">
        <pc:chgData name="Vinod, Kakumani" userId="17c44900-94b1-40ff-9c49-4d86853f1883" providerId="ADAL" clId="{8F1DEB0C-3D7C-074B-AF0E-FD7DDF8CE4CE}" dt="2020-06-15T12:27:48.951" v="1770" actId="1076"/>
        <pc:sldMkLst>
          <pc:docMk/>
          <pc:sldMk cId="1296687558" sldId="1621"/>
        </pc:sldMkLst>
        <pc:spChg chg="mod">
          <ac:chgData name="Vinod, Kakumani" userId="17c44900-94b1-40ff-9c49-4d86853f1883" providerId="ADAL" clId="{8F1DEB0C-3D7C-074B-AF0E-FD7DDF8CE4CE}" dt="2020-06-14T17:40:37.772" v="1267" actId="12"/>
          <ac:spMkLst>
            <pc:docMk/>
            <pc:sldMk cId="1296687558" sldId="1621"/>
            <ac:spMk id="2" creationId="{5518FA77-91BF-8C4D-A602-16BABB79C951}"/>
          </ac:spMkLst>
        </pc:spChg>
        <pc:spChg chg="mod">
          <ac:chgData name="Vinod, Kakumani" userId="17c44900-94b1-40ff-9c49-4d86853f1883" providerId="ADAL" clId="{8F1DEB0C-3D7C-074B-AF0E-FD7DDF8CE4CE}" dt="2020-06-14T17:38:48.539" v="1257"/>
          <ac:spMkLst>
            <pc:docMk/>
            <pc:sldMk cId="1296687558" sldId="1621"/>
            <ac:spMk id="3" creationId="{0FE5E7FE-97AC-A440-B9A0-CA8667DB8D51}"/>
          </ac:spMkLst>
        </pc:spChg>
        <pc:spChg chg="del">
          <ac:chgData name="Vinod, Kakumani" userId="17c44900-94b1-40ff-9c49-4d86853f1883" providerId="ADAL" clId="{8F1DEB0C-3D7C-074B-AF0E-FD7DDF8CE4CE}" dt="2020-06-14T17:32:44.219" v="1220" actId="478"/>
          <ac:spMkLst>
            <pc:docMk/>
            <pc:sldMk cId="1296687558" sldId="1621"/>
            <ac:spMk id="4" creationId="{32F42062-C01F-4948-B6D4-50EE067D85FC}"/>
          </ac:spMkLst>
        </pc:spChg>
        <pc:spChg chg="add del mod">
          <ac:chgData name="Vinod, Kakumani" userId="17c44900-94b1-40ff-9c49-4d86853f1883" providerId="ADAL" clId="{8F1DEB0C-3D7C-074B-AF0E-FD7DDF8CE4CE}" dt="2020-06-14T17:35:04.557" v="1232"/>
          <ac:spMkLst>
            <pc:docMk/>
            <pc:sldMk cId="1296687558" sldId="1621"/>
            <ac:spMk id="6" creationId="{6C7DEB28-90C4-8F41-945D-A2ADF2CA8850}"/>
          </ac:spMkLst>
        </pc:spChg>
        <pc:spChg chg="add del mod">
          <ac:chgData name="Vinod, Kakumani" userId="17c44900-94b1-40ff-9c49-4d86853f1883" providerId="ADAL" clId="{8F1DEB0C-3D7C-074B-AF0E-FD7DDF8CE4CE}" dt="2020-06-14T17:39:05.373" v="1258" actId="767"/>
          <ac:spMkLst>
            <pc:docMk/>
            <pc:sldMk cId="1296687558" sldId="1621"/>
            <ac:spMk id="7" creationId="{218654A5-6B8D-8C43-8B86-CF5E0219D867}"/>
          </ac:spMkLst>
        </pc:spChg>
        <pc:spChg chg="add del mod">
          <ac:chgData name="Vinod, Kakumani" userId="17c44900-94b1-40ff-9c49-4d86853f1883" providerId="ADAL" clId="{8F1DEB0C-3D7C-074B-AF0E-FD7DDF8CE4CE}" dt="2020-06-14T17:40:03.965" v="1264"/>
          <ac:spMkLst>
            <pc:docMk/>
            <pc:sldMk cId="1296687558" sldId="1621"/>
            <ac:spMk id="8" creationId="{0D070FE8-4ED1-9946-A672-1623C40A6FA0}"/>
          </ac:spMkLst>
        </pc:spChg>
        <pc:spChg chg="add del mod">
          <ac:chgData name="Vinod, Kakumani" userId="17c44900-94b1-40ff-9c49-4d86853f1883" providerId="ADAL" clId="{8F1DEB0C-3D7C-074B-AF0E-FD7DDF8CE4CE}" dt="2020-06-14T17:40:03.459" v="1262"/>
          <ac:spMkLst>
            <pc:docMk/>
            <pc:sldMk cId="1296687558" sldId="1621"/>
            <ac:spMk id="10" creationId="{79DC9373-714E-F542-A2F8-76C2C4DBAAAB}"/>
          </ac:spMkLst>
        </pc:spChg>
        <pc:spChg chg="add del mod">
          <ac:chgData name="Vinod, Kakumani" userId="17c44900-94b1-40ff-9c49-4d86853f1883" providerId="ADAL" clId="{8F1DEB0C-3D7C-074B-AF0E-FD7DDF8CE4CE}" dt="2020-06-14T17:59:04.128" v="1674"/>
          <ac:spMkLst>
            <pc:docMk/>
            <pc:sldMk cId="1296687558" sldId="1621"/>
            <ac:spMk id="15" creationId="{6E3E1AFC-7405-D147-9E07-944D661EBE55}"/>
          </ac:spMkLst>
        </pc:spChg>
        <pc:spChg chg="add del mod">
          <ac:chgData name="Vinod, Kakumani" userId="17c44900-94b1-40ff-9c49-4d86853f1883" providerId="ADAL" clId="{8F1DEB0C-3D7C-074B-AF0E-FD7DDF8CE4CE}" dt="2020-06-14T17:59:04.132" v="1676"/>
          <ac:spMkLst>
            <pc:docMk/>
            <pc:sldMk cId="1296687558" sldId="1621"/>
            <ac:spMk id="16" creationId="{D1A3370C-54CF-7A4E-B884-ADEB5C4FC212}"/>
          </ac:spMkLst>
        </pc:spChg>
        <pc:spChg chg="add del mod">
          <ac:chgData name="Vinod, Kakumani" userId="17c44900-94b1-40ff-9c49-4d86853f1883" providerId="ADAL" clId="{8F1DEB0C-3D7C-074B-AF0E-FD7DDF8CE4CE}" dt="2020-06-14T17:59:06.561" v="1678"/>
          <ac:spMkLst>
            <pc:docMk/>
            <pc:sldMk cId="1296687558" sldId="1621"/>
            <ac:spMk id="17" creationId="{A6AD44E7-82CB-3647-AB56-2AF78D6BF265}"/>
          </ac:spMkLst>
        </pc:spChg>
        <pc:spChg chg="add del mod">
          <ac:chgData name="Vinod, Kakumani" userId="17c44900-94b1-40ff-9c49-4d86853f1883" providerId="ADAL" clId="{8F1DEB0C-3D7C-074B-AF0E-FD7DDF8CE4CE}" dt="2020-06-14T17:58:46.806" v="1667"/>
          <ac:spMkLst>
            <pc:docMk/>
            <pc:sldMk cId="1296687558" sldId="1621"/>
            <ac:spMk id="18" creationId="{E3741D70-D0FF-D844-AB09-6E22954EE17C}"/>
          </ac:spMkLst>
        </pc:spChg>
        <pc:picChg chg="add del mod">
          <ac:chgData name="Vinod, Kakumani" userId="17c44900-94b1-40ff-9c49-4d86853f1883" providerId="ADAL" clId="{8F1DEB0C-3D7C-074B-AF0E-FD7DDF8CE4CE}" dt="2020-06-14T17:56:19.468" v="1555" actId="478"/>
          <ac:picMkLst>
            <pc:docMk/>
            <pc:sldMk cId="1296687558" sldId="1621"/>
            <ac:picMk id="12" creationId="{45D32962-347B-C34A-B710-1C0C6F5BA333}"/>
          </ac:picMkLst>
        </pc:picChg>
        <pc:picChg chg="add mod">
          <ac:chgData name="Vinod, Kakumani" userId="17c44900-94b1-40ff-9c49-4d86853f1883" providerId="ADAL" clId="{8F1DEB0C-3D7C-074B-AF0E-FD7DDF8CE4CE}" dt="2020-06-15T12:27:48.951" v="1770" actId="1076"/>
          <ac:picMkLst>
            <pc:docMk/>
            <pc:sldMk cId="1296687558" sldId="1621"/>
            <ac:picMk id="14" creationId="{20CACE65-846E-9F47-AC23-3BED65F8836B}"/>
          </ac:picMkLst>
        </pc:picChg>
        <pc:picChg chg="add del mod">
          <ac:chgData name="Vinod, Kakumani" userId="17c44900-94b1-40ff-9c49-4d86853f1883" providerId="ADAL" clId="{8F1DEB0C-3D7C-074B-AF0E-FD7DDF8CE4CE}" dt="2020-06-14T18:00:45.762" v="1758" actId="21"/>
          <ac:picMkLst>
            <pc:docMk/>
            <pc:sldMk cId="1296687558" sldId="1621"/>
            <ac:picMk id="20" creationId="{BF7F6B01-8516-3B46-B6F4-E7E257DEF9DC}"/>
          </ac:picMkLst>
        </pc:picChg>
      </pc:sldChg>
      <pc:sldChg chg="addSp delSp modSp new">
        <pc:chgData name="Vinod, Kakumani" userId="17c44900-94b1-40ff-9c49-4d86853f1883" providerId="ADAL" clId="{8F1DEB0C-3D7C-074B-AF0E-FD7DDF8CE4CE}" dt="2020-06-15T12:45:14.217" v="2609"/>
        <pc:sldMkLst>
          <pc:docMk/>
          <pc:sldMk cId="3637536154" sldId="1622"/>
        </pc:sldMkLst>
        <pc:spChg chg="mod">
          <ac:chgData name="Vinod, Kakumani" userId="17c44900-94b1-40ff-9c49-4d86853f1883" providerId="ADAL" clId="{8F1DEB0C-3D7C-074B-AF0E-FD7DDF8CE4CE}" dt="2020-06-15T12:29:36.820" v="1815"/>
          <ac:spMkLst>
            <pc:docMk/>
            <pc:sldMk cId="3637536154" sldId="1622"/>
            <ac:spMk id="2" creationId="{7C1963E9-29E6-AD44-973F-FEAD8CFC185F}"/>
          </ac:spMkLst>
        </pc:spChg>
        <pc:spChg chg="add del mod">
          <ac:chgData name="Vinod, Kakumani" userId="17c44900-94b1-40ff-9c49-4d86853f1883" providerId="ADAL" clId="{8F1DEB0C-3D7C-074B-AF0E-FD7DDF8CE4CE}" dt="2020-06-15T12:45:04.883" v="2606" actId="20577"/>
          <ac:spMkLst>
            <pc:docMk/>
            <pc:sldMk cId="3637536154" sldId="1622"/>
            <ac:spMk id="3" creationId="{35D698D0-5629-544F-B90C-3C19BF256F71}"/>
          </ac:spMkLst>
        </pc:spChg>
        <pc:spChg chg="del">
          <ac:chgData name="Vinod, Kakumani" userId="17c44900-94b1-40ff-9c49-4d86853f1883" providerId="ADAL" clId="{8F1DEB0C-3D7C-074B-AF0E-FD7DDF8CE4CE}" dt="2020-06-15T12:29:42.411" v="1816" actId="478"/>
          <ac:spMkLst>
            <pc:docMk/>
            <pc:sldMk cId="3637536154" sldId="1622"/>
            <ac:spMk id="4" creationId="{DAA9A2F1-52DF-554F-88AF-0A9E11D5C5F1}"/>
          </ac:spMkLst>
        </pc:spChg>
        <pc:spChg chg="add del mod">
          <ac:chgData name="Vinod, Kakumani" userId="17c44900-94b1-40ff-9c49-4d86853f1883" providerId="ADAL" clId="{8F1DEB0C-3D7C-074B-AF0E-FD7DDF8CE4CE}" dt="2020-06-15T12:45:14.217" v="2609"/>
          <ac:spMkLst>
            <pc:docMk/>
            <pc:sldMk cId="3637536154" sldId="1622"/>
            <ac:spMk id="8" creationId="{6B9675B6-B259-7E49-9E55-7E83D89283BE}"/>
          </ac:spMkLst>
        </pc:spChg>
        <pc:picChg chg="add mod">
          <ac:chgData name="Vinod, Kakumani" userId="17c44900-94b1-40ff-9c49-4d86853f1883" providerId="ADAL" clId="{8F1DEB0C-3D7C-074B-AF0E-FD7DDF8CE4CE}" dt="2020-06-15T12:43:59.819" v="2524" actId="1076"/>
          <ac:picMkLst>
            <pc:docMk/>
            <pc:sldMk cId="3637536154" sldId="1622"/>
            <ac:picMk id="7" creationId="{775D95DF-3441-504B-9861-B3B9CA436C71}"/>
          </ac:picMkLst>
        </pc:picChg>
      </pc:sldChg>
      <pc:sldChg chg="addSp delSp modSp add del ord">
        <pc:chgData name="Vinod, Kakumani" userId="17c44900-94b1-40ff-9c49-4d86853f1883" providerId="ADAL" clId="{8F1DEB0C-3D7C-074B-AF0E-FD7DDF8CE4CE}" dt="2020-06-16T12:10:55.164" v="6129"/>
        <pc:sldMkLst>
          <pc:docMk/>
          <pc:sldMk cId="1795479286" sldId="1623"/>
        </pc:sldMkLst>
        <pc:spChg chg="mod">
          <ac:chgData name="Vinod, Kakumani" userId="17c44900-94b1-40ff-9c49-4d86853f1883" providerId="ADAL" clId="{8F1DEB0C-3D7C-074B-AF0E-FD7DDF8CE4CE}" dt="2020-06-16T12:10:27.544" v="6124" actId="20577"/>
          <ac:spMkLst>
            <pc:docMk/>
            <pc:sldMk cId="1795479286" sldId="1623"/>
            <ac:spMk id="2" creationId="{5518FA77-91BF-8C4D-A602-16BABB79C951}"/>
          </ac:spMkLst>
        </pc:spChg>
        <pc:spChg chg="add del mod">
          <ac:chgData name="Vinod, Kakumani" userId="17c44900-94b1-40ff-9c49-4d86853f1883" providerId="ADAL" clId="{8F1DEB0C-3D7C-074B-AF0E-FD7DDF8CE4CE}" dt="2020-06-14T17:48:07.419" v="1332"/>
          <ac:spMkLst>
            <pc:docMk/>
            <pc:sldMk cId="1795479286" sldId="1623"/>
            <ac:spMk id="4" creationId="{77899325-976E-7B42-96E7-F64182D9A2BC}"/>
          </ac:spMkLst>
        </pc:spChg>
        <pc:spChg chg="add del mod">
          <ac:chgData name="Vinod, Kakumani" userId="17c44900-94b1-40ff-9c49-4d86853f1883" providerId="ADAL" clId="{8F1DEB0C-3D7C-074B-AF0E-FD7DDF8CE4CE}" dt="2020-06-16T12:10:43.885" v="6126"/>
          <ac:spMkLst>
            <pc:docMk/>
            <pc:sldMk cId="1795479286" sldId="1623"/>
            <ac:spMk id="4" creationId="{AE0A4E4E-E898-A249-B9AB-B61C5BCE6B7D}"/>
          </ac:spMkLst>
        </pc:spChg>
        <pc:spChg chg="add del mod">
          <ac:chgData name="Vinod, Kakumani" userId="17c44900-94b1-40ff-9c49-4d86853f1883" providerId="ADAL" clId="{8F1DEB0C-3D7C-074B-AF0E-FD7DDF8CE4CE}" dt="2020-06-14T17:48:06.199" v="1330" actId="767"/>
          <ac:spMkLst>
            <pc:docMk/>
            <pc:sldMk cId="1795479286" sldId="1623"/>
            <ac:spMk id="6" creationId="{F2A68B5D-A448-A142-8157-46754006D717}"/>
          </ac:spMkLst>
        </pc:spChg>
        <pc:spChg chg="add del mod">
          <ac:chgData name="Vinod, Kakumani" userId="17c44900-94b1-40ff-9c49-4d86853f1883" providerId="ADAL" clId="{8F1DEB0C-3D7C-074B-AF0E-FD7DDF8CE4CE}" dt="2020-06-14T17:48:42.510" v="1389"/>
          <ac:spMkLst>
            <pc:docMk/>
            <pc:sldMk cId="1795479286" sldId="1623"/>
            <ac:spMk id="7" creationId="{FEEB524F-C0A7-B244-8F02-483FCF760E82}"/>
          </ac:spMkLst>
        </pc:spChg>
        <pc:spChg chg="add del mod">
          <ac:chgData name="Vinod, Kakumani" userId="17c44900-94b1-40ff-9c49-4d86853f1883" providerId="ADAL" clId="{8F1DEB0C-3D7C-074B-AF0E-FD7DDF8CE4CE}" dt="2020-06-14T17:51:42.038" v="1433"/>
          <ac:spMkLst>
            <pc:docMk/>
            <pc:sldMk cId="1795479286" sldId="1623"/>
            <ac:spMk id="8" creationId="{31E8C254-5A00-704C-B24F-EC61C69979E2}"/>
          </ac:spMkLst>
        </pc:spChg>
        <pc:spChg chg="add mod">
          <ac:chgData name="Vinod, Kakumani" userId="17c44900-94b1-40ff-9c49-4d86853f1883" providerId="ADAL" clId="{8F1DEB0C-3D7C-074B-AF0E-FD7DDF8CE4CE}" dt="2020-06-15T13:22:36.195" v="3896" actId="20577"/>
          <ac:spMkLst>
            <pc:docMk/>
            <pc:sldMk cId="1795479286" sldId="1623"/>
            <ac:spMk id="9" creationId="{D458F005-E6A6-5249-882E-2C13B79BA17C}"/>
          </ac:spMkLst>
        </pc:spChg>
        <pc:spChg chg="add del mod">
          <ac:chgData name="Vinod, Kakumani" userId="17c44900-94b1-40ff-9c49-4d86853f1883" providerId="ADAL" clId="{8F1DEB0C-3D7C-074B-AF0E-FD7DDF8CE4CE}" dt="2020-06-14T17:51:42.981" v="1435"/>
          <ac:spMkLst>
            <pc:docMk/>
            <pc:sldMk cId="1795479286" sldId="1623"/>
            <ac:spMk id="10" creationId="{1D84E8DB-2242-FC4C-9A7F-83D4A4C0E8BD}"/>
          </ac:spMkLst>
        </pc:spChg>
        <pc:picChg chg="add del mod">
          <ac:chgData name="Vinod, Kakumani" userId="17c44900-94b1-40ff-9c49-4d86853f1883" providerId="ADAL" clId="{8F1DEB0C-3D7C-074B-AF0E-FD7DDF8CE4CE}" dt="2020-06-15T13:22:13.323" v="3883"/>
          <ac:picMkLst>
            <pc:docMk/>
            <pc:sldMk cId="1795479286" sldId="1623"/>
            <ac:picMk id="11" creationId="{9CA8312F-994A-6041-8E93-D34D03046EC2}"/>
          </ac:picMkLst>
        </pc:picChg>
        <pc:picChg chg="del">
          <ac:chgData name="Vinod, Kakumani" userId="17c44900-94b1-40ff-9c49-4d86853f1883" providerId="ADAL" clId="{8F1DEB0C-3D7C-074B-AF0E-FD7DDF8CE4CE}" dt="2020-06-14T17:48:00.225" v="1321" actId="478"/>
          <ac:picMkLst>
            <pc:docMk/>
            <pc:sldMk cId="1795479286" sldId="1623"/>
            <ac:picMk id="12" creationId="{45D32962-347B-C34A-B710-1C0C6F5BA333}"/>
          </ac:picMkLst>
        </pc:picChg>
      </pc:sldChg>
      <pc:sldChg chg="addSp delSp modSp new">
        <pc:chgData name="Vinod, Kakumani" userId="17c44900-94b1-40ff-9c49-4d86853f1883" providerId="ADAL" clId="{8F1DEB0C-3D7C-074B-AF0E-FD7DDF8CE4CE}" dt="2020-06-16T10:59:11.898" v="5714"/>
        <pc:sldMkLst>
          <pc:docMk/>
          <pc:sldMk cId="704103744" sldId="1624"/>
        </pc:sldMkLst>
        <pc:spChg chg="mod">
          <ac:chgData name="Vinod, Kakumani" userId="17c44900-94b1-40ff-9c49-4d86853f1883" providerId="ADAL" clId="{8F1DEB0C-3D7C-074B-AF0E-FD7DDF8CE4CE}" dt="2020-06-14T18:00:31.147" v="1755"/>
          <ac:spMkLst>
            <pc:docMk/>
            <pc:sldMk cId="704103744" sldId="1624"/>
            <ac:spMk id="2" creationId="{ABE46F93-582D-9543-90FB-5E3811BFA191}"/>
          </ac:spMkLst>
        </pc:spChg>
        <pc:spChg chg="add del mod">
          <ac:chgData name="Vinod, Kakumani" userId="17c44900-94b1-40ff-9c49-4d86853f1883" providerId="ADAL" clId="{8F1DEB0C-3D7C-074B-AF0E-FD7DDF8CE4CE}" dt="2020-06-16T10:59:11.898" v="5714"/>
          <ac:spMkLst>
            <pc:docMk/>
            <pc:sldMk cId="704103744" sldId="1624"/>
            <ac:spMk id="3" creationId="{E46D1304-C853-0045-A7FA-2913E5CFCF0A}"/>
          </ac:spMkLst>
        </pc:spChg>
        <pc:spChg chg="del mod">
          <ac:chgData name="Vinod, Kakumani" userId="17c44900-94b1-40ff-9c49-4d86853f1883" providerId="ADAL" clId="{8F1DEB0C-3D7C-074B-AF0E-FD7DDF8CE4CE}" dt="2020-06-14T18:01:29.150" v="1769" actId="478"/>
          <ac:spMkLst>
            <pc:docMk/>
            <pc:sldMk cId="704103744" sldId="1624"/>
            <ac:spMk id="3" creationId="{E5928468-089E-4544-B427-55FFF97566C0}"/>
          </ac:spMkLst>
        </pc:spChg>
        <pc:spChg chg="del">
          <ac:chgData name="Vinod, Kakumani" userId="17c44900-94b1-40ff-9c49-4d86853f1883" providerId="ADAL" clId="{8F1DEB0C-3D7C-074B-AF0E-FD7DDF8CE4CE}" dt="2020-06-14T18:00:36.190" v="1756" actId="478"/>
          <ac:spMkLst>
            <pc:docMk/>
            <pc:sldMk cId="704103744" sldId="1624"/>
            <ac:spMk id="4" creationId="{A9887673-3ADE-A140-B17C-24F4BB14FFA1}"/>
          </ac:spMkLst>
        </pc:spChg>
        <pc:spChg chg="add del mod">
          <ac:chgData name="Vinod, Kakumani" userId="17c44900-94b1-40ff-9c49-4d86853f1883" providerId="ADAL" clId="{8F1DEB0C-3D7C-074B-AF0E-FD7DDF8CE4CE}" dt="2020-06-14T18:00:59.141" v="1764"/>
          <ac:spMkLst>
            <pc:docMk/>
            <pc:sldMk cId="704103744" sldId="1624"/>
            <ac:spMk id="7" creationId="{A36D7128-D88B-DF49-804E-217FD28CADB4}"/>
          </ac:spMkLst>
        </pc:spChg>
        <pc:spChg chg="add del mod">
          <ac:chgData name="Vinod, Kakumani" userId="17c44900-94b1-40ff-9c49-4d86853f1883" providerId="ADAL" clId="{8F1DEB0C-3D7C-074B-AF0E-FD7DDF8CE4CE}" dt="2020-06-14T18:01:20.462" v="1768"/>
          <ac:spMkLst>
            <pc:docMk/>
            <pc:sldMk cId="704103744" sldId="1624"/>
            <ac:spMk id="8" creationId="{F1D0B06B-93D3-E04D-945D-56BE320D49AA}"/>
          </ac:spMkLst>
        </pc:spChg>
        <pc:picChg chg="add mod">
          <ac:chgData name="Vinod, Kakumani" userId="17c44900-94b1-40ff-9c49-4d86853f1883" providerId="ADAL" clId="{8F1DEB0C-3D7C-074B-AF0E-FD7DDF8CE4CE}" dt="2020-06-14T18:01:14.016" v="1765" actId="1076"/>
          <ac:picMkLst>
            <pc:docMk/>
            <pc:sldMk cId="704103744" sldId="1624"/>
            <ac:picMk id="6" creationId="{37DE7DE9-6843-0545-B4FF-71AE55FBFDAC}"/>
          </ac:picMkLst>
        </pc:picChg>
      </pc:sldChg>
      <pc:sldChg chg="addSp delSp modSp new">
        <pc:chgData name="Vinod, Kakumani" userId="17c44900-94b1-40ff-9c49-4d86853f1883" providerId="ADAL" clId="{8F1DEB0C-3D7C-074B-AF0E-FD7DDF8CE4CE}" dt="2020-06-15T12:28:44.162" v="1814" actId="1076"/>
        <pc:sldMkLst>
          <pc:docMk/>
          <pc:sldMk cId="251250999" sldId="1625"/>
        </pc:sldMkLst>
        <pc:spChg chg="mod">
          <ac:chgData name="Vinod, Kakumani" userId="17c44900-94b1-40ff-9c49-4d86853f1883" providerId="ADAL" clId="{8F1DEB0C-3D7C-074B-AF0E-FD7DDF8CE4CE}" dt="2020-06-15T12:28:28.196" v="1809" actId="20577"/>
          <ac:spMkLst>
            <pc:docMk/>
            <pc:sldMk cId="251250999" sldId="1625"/>
            <ac:spMk id="2" creationId="{F4952ACB-61FC-EB4B-9351-4B94AA404F9F}"/>
          </ac:spMkLst>
        </pc:spChg>
        <pc:spChg chg="del mod">
          <ac:chgData name="Vinod, Kakumani" userId="17c44900-94b1-40ff-9c49-4d86853f1883" providerId="ADAL" clId="{8F1DEB0C-3D7C-074B-AF0E-FD7DDF8CE4CE}" dt="2020-06-15T12:28:40.518" v="1812" actId="478"/>
          <ac:spMkLst>
            <pc:docMk/>
            <pc:sldMk cId="251250999" sldId="1625"/>
            <ac:spMk id="3" creationId="{586CAE68-4AF0-9547-896A-0CD968253676}"/>
          </ac:spMkLst>
        </pc:spChg>
        <pc:spChg chg="del">
          <ac:chgData name="Vinod, Kakumani" userId="17c44900-94b1-40ff-9c49-4d86853f1883" providerId="ADAL" clId="{8F1DEB0C-3D7C-074B-AF0E-FD7DDF8CE4CE}" dt="2020-06-15T12:28:32.075" v="1810" actId="478"/>
          <ac:spMkLst>
            <pc:docMk/>
            <pc:sldMk cId="251250999" sldId="1625"/>
            <ac:spMk id="4" creationId="{59B37AB7-8877-1446-9F34-1A55FBD2B3AE}"/>
          </ac:spMkLst>
        </pc:spChg>
        <pc:picChg chg="add mod">
          <ac:chgData name="Vinod, Kakumani" userId="17c44900-94b1-40ff-9c49-4d86853f1883" providerId="ADAL" clId="{8F1DEB0C-3D7C-074B-AF0E-FD7DDF8CE4CE}" dt="2020-06-15T12:28:44.162" v="1814" actId="1076"/>
          <ac:picMkLst>
            <pc:docMk/>
            <pc:sldMk cId="251250999" sldId="1625"/>
            <ac:picMk id="7" creationId="{833D9564-4C32-5C45-BF45-0239CCB5FD9F}"/>
          </ac:picMkLst>
        </pc:picChg>
      </pc:sldChg>
      <pc:sldChg chg="addSp delSp modSp new">
        <pc:chgData name="Vinod, Kakumani" userId="17c44900-94b1-40ff-9c49-4d86853f1883" providerId="ADAL" clId="{8F1DEB0C-3D7C-074B-AF0E-FD7DDF8CE4CE}" dt="2020-06-15T12:56:56.427" v="3028" actId="21"/>
        <pc:sldMkLst>
          <pc:docMk/>
          <pc:sldMk cId="3675580781" sldId="1626"/>
        </pc:sldMkLst>
        <pc:spChg chg="mod">
          <ac:chgData name="Vinod, Kakumani" userId="17c44900-94b1-40ff-9c49-4d86853f1883" providerId="ADAL" clId="{8F1DEB0C-3D7C-074B-AF0E-FD7DDF8CE4CE}" dt="2020-06-15T12:47:06.608" v="2611"/>
          <ac:spMkLst>
            <pc:docMk/>
            <pc:sldMk cId="3675580781" sldId="1626"/>
            <ac:spMk id="2" creationId="{57CB53E1-C698-5241-AD30-7FBFDAC92245}"/>
          </ac:spMkLst>
        </pc:spChg>
        <pc:spChg chg="mod">
          <ac:chgData name="Vinod, Kakumani" userId="17c44900-94b1-40ff-9c49-4d86853f1883" providerId="ADAL" clId="{8F1DEB0C-3D7C-074B-AF0E-FD7DDF8CE4CE}" dt="2020-06-15T12:56:56.427" v="3028" actId="21"/>
          <ac:spMkLst>
            <pc:docMk/>
            <pc:sldMk cId="3675580781" sldId="1626"/>
            <ac:spMk id="3" creationId="{0CBB5A68-3A1A-A643-BA87-382E8C8734C7}"/>
          </ac:spMkLst>
        </pc:spChg>
        <pc:spChg chg="del">
          <ac:chgData name="Vinod, Kakumani" userId="17c44900-94b1-40ff-9c49-4d86853f1883" providerId="ADAL" clId="{8F1DEB0C-3D7C-074B-AF0E-FD7DDF8CE4CE}" dt="2020-06-15T12:47:09.741" v="2612" actId="478"/>
          <ac:spMkLst>
            <pc:docMk/>
            <pc:sldMk cId="3675580781" sldId="1626"/>
            <ac:spMk id="4" creationId="{7A1A9053-1254-4643-85F1-81C733363F00}"/>
          </ac:spMkLst>
        </pc:spChg>
        <pc:spChg chg="add del mod">
          <ac:chgData name="Vinod, Kakumani" userId="17c44900-94b1-40ff-9c49-4d86853f1883" providerId="ADAL" clId="{8F1DEB0C-3D7C-074B-AF0E-FD7DDF8CE4CE}" dt="2020-06-15T12:49:45.987" v="2804"/>
          <ac:spMkLst>
            <pc:docMk/>
            <pc:sldMk cId="3675580781" sldId="1626"/>
            <ac:spMk id="6" creationId="{DC8327C1-508B-2E49-8009-800D93DFCE67}"/>
          </ac:spMkLst>
        </pc:spChg>
      </pc:sldChg>
      <pc:sldChg chg="addSp delSp modSp new ord">
        <pc:chgData name="Vinod, Kakumani" userId="17c44900-94b1-40ff-9c49-4d86853f1883" providerId="ADAL" clId="{8F1DEB0C-3D7C-074B-AF0E-FD7DDF8CE4CE}" dt="2020-06-16T12:09:33.767" v="6070"/>
        <pc:sldMkLst>
          <pc:docMk/>
          <pc:sldMk cId="3902404013" sldId="1627"/>
        </pc:sldMkLst>
        <pc:spChg chg="mod">
          <ac:chgData name="Vinod, Kakumani" userId="17c44900-94b1-40ff-9c49-4d86853f1883" providerId="ADAL" clId="{8F1DEB0C-3D7C-074B-AF0E-FD7DDF8CE4CE}" dt="2020-06-15T13:22:47.450" v="3912" actId="12"/>
          <ac:spMkLst>
            <pc:docMk/>
            <pc:sldMk cId="3902404013" sldId="1627"/>
            <ac:spMk id="2" creationId="{0AD97A9F-7FC9-6945-A928-9109EA62997D}"/>
          </ac:spMkLst>
        </pc:spChg>
        <pc:spChg chg="mod">
          <ac:chgData name="Vinod, Kakumani" userId="17c44900-94b1-40ff-9c49-4d86853f1883" providerId="ADAL" clId="{8F1DEB0C-3D7C-074B-AF0E-FD7DDF8CE4CE}" dt="2020-06-16T12:09:24.093" v="6067" actId="20577"/>
          <ac:spMkLst>
            <pc:docMk/>
            <pc:sldMk cId="3902404013" sldId="1627"/>
            <ac:spMk id="3" creationId="{1CDBCEE3-E40A-D049-ABEA-81016D5FC18E}"/>
          </ac:spMkLst>
        </pc:spChg>
        <pc:spChg chg="del">
          <ac:chgData name="Vinod, Kakumani" userId="17c44900-94b1-40ff-9c49-4d86853f1883" providerId="ADAL" clId="{8F1DEB0C-3D7C-074B-AF0E-FD7DDF8CE4CE}" dt="2020-06-15T13:22:50.103" v="3913" actId="478"/>
          <ac:spMkLst>
            <pc:docMk/>
            <pc:sldMk cId="3902404013" sldId="1627"/>
            <ac:spMk id="4" creationId="{6C552217-2A77-EA41-9EBA-790ACC3161C7}"/>
          </ac:spMkLst>
        </pc:spChg>
        <pc:spChg chg="add del mod">
          <ac:chgData name="Vinod, Kakumani" userId="17c44900-94b1-40ff-9c49-4d86853f1883" providerId="ADAL" clId="{8F1DEB0C-3D7C-074B-AF0E-FD7DDF8CE4CE}" dt="2020-06-16T11:51:00.800" v="5779"/>
          <ac:spMkLst>
            <pc:docMk/>
            <pc:sldMk cId="3902404013" sldId="1627"/>
            <ac:spMk id="4" creationId="{C8EDC24C-5861-434F-9523-D8711A6F8303}"/>
          </ac:spMkLst>
        </pc:spChg>
        <pc:spChg chg="add del mod">
          <ac:chgData name="Vinod, Kakumani" userId="17c44900-94b1-40ff-9c49-4d86853f1883" providerId="ADAL" clId="{8F1DEB0C-3D7C-074B-AF0E-FD7DDF8CE4CE}" dt="2020-06-15T13:24:52.864" v="3969"/>
          <ac:spMkLst>
            <pc:docMk/>
            <pc:sldMk cId="3902404013" sldId="1627"/>
            <ac:spMk id="6" creationId="{17AEF82B-ECEE-604B-BF42-4966E066A18B}"/>
          </ac:spMkLst>
        </pc:spChg>
        <pc:spChg chg="add del mod">
          <ac:chgData name="Vinod, Kakumani" userId="17c44900-94b1-40ff-9c49-4d86853f1883" providerId="ADAL" clId="{8F1DEB0C-3D7C-074B-AF0E-FD7DDF8CE4CE}" dt="2020-06-16T12:09:33.767" v="6070"/>
          <ac:spMkLst>
            <pc:docMk/>
            <pc:sldMk cId="3902404013" sldId="1627"/>
            <ac:spMk id="6" creationId="{50AC83A5-1F2E-934D-B3A1-598B0A402AAA}"/>
          </ac:spMkLst>
        </pc:spChg>
      </pc:sldChg>
      <pc:sldChg chg="addSp delSp modSp new">
        <pc:chgData name="Vinod, Kakumani" userId="17c44900-94b1-40ff-9c49-4d86853f1883" providerId="ADAL" clId="{8F1DEB0C-3D7C-074B-AF0E-FD7DDF8CE4CE}" dt="2020-06-16T12:11:40.199" v="6130" actId="20577"/>
        <pc:sldMkLst>
          <pc:docMk/>
          <pc:sldMk cId="1097652106" sldId="1628"/>
        </pc:sldMkLst>
        <pc:spChg chg="mod">
          <ac:chgData name="Vinod, Kakumani" userId="17c44900-94b1-40ff-9c49-4d86853f1883" providerId="ADAL" clId="{8F1DEB0C-3D7C-074B-AF0E-FD7DDF8CE4CE}" dt="2020-06-15T13:53:59.521" v="5336" actId="20577"/>
          <ac:spMkLst>
            <pc:docMk/>
            <pc:sldMk cId="1097652106" sldId="1628"/>
            <ac:spMk id="2" creationId="{228778D4-60A0-9847-B588-FEA139342A12}"/>
          </ac:spMkLst>
        </pc:spChg>
        <pc:spChg chg="add del mod">
          <ac:chgData name="Vinod, Kakumani" userId="17c44900-94b1-40ff-9c49-4d86853f1883" providerId="ADAL" clId="{8F1DEB0C-3D7C-074B-AF0E-FD7DDF8CE4CE}" dt="2020-06-16T12:11:40.199" v="6130" actId="20577"/>
          <ac:spMkLst>
            <pc:docMk/>
            <pc:sldMk cId="1097652106" sldId="1628"/>
            <ac:spMk id="3" creationId="{D0305B3A-BD0B-BB4F-9B3A-82F3723517BA}"/>
          </ac:spMkLst>
        </pc:spChg>
        <pc:spChg chg="del">
          <ac:chgData name="Vinod, Kakumani" userId="17c44900-94b1-40ff-9c49-4d86853f1883" providerId="ADAL" clId="{8F1DEB0C-3D7C-074B-AF0E-FD7DDF8CE4CE}" dt="2020-06-15T13:52:53.920" v="5301" actId="478"/>
          <ac:spMkLst>
            <pc:docMk/>
            <pc:sldMk cId="1097652106" sldId="1628"/>
            <ac:spMk id="4" creationId="{95B19A84-36C4-5A43-B8F3-B7668C36DEA1}"/>
          </ac:spMkLst>
        </pc:spChg>
        <pc:spChg chg="add del mod">
          <ac:chgData name="Vinod, Kakumani" userId="17c44900-94b1-40ff-9c49-4d86853f1883" providerId="ADAL" clId="{8F1DEB0C-3D7C-074B-AF0E-FD7DDF8CE4CE}" dt="2020-06-15T13:52:58.806" v="5304" actId="767"/>
          <ac:spMkLst>
            <pc:docMk/>
            <pc:sldMk cId="1097652106" sldId="1628"/>
            <ac:spMk id="6" creationId="{D1499FC2-BE0D-4248-B953-82A873063351}"/>
          </ac:spMkLst>
        </pc:spChg>
        <pc:spChg chg="add del mod">
          <ac:chgData name="Vinod, Kakumani" userId="17c44900-94b1-40ff-9c49-4d86853f1883" providerId="ADAL" clId="{8F1DEB0C-3D7C-074B-AF0E-FD7DDF8CE4CE}" dt="2020-06-15T13:54:01.705" v="5338"/>
          <ac:spMkLst>
            <pc:docMk/>
            <pc:sldMk cId="1097652106" sldId="1628"/>
            <ac:spMk id="7" creationId="{15B80DDA-FAB0-5249-A2EC-01451189CB48}"/>
          </ac:spMkLst>
        </pc:spChg>
      </pc:sldChg>
      <pc:sldChg chg="addSp delSp modSp new">
        <pc:chgData name="Vinod, Kakumani" userId="17c44900-94b1-40ff-9c49-4d86853f1883" providerId="ADAL" clId="{8F1DEB0C-3D7C-074B-AF0E-FD7DDF8CE4CE}" dt="2020-06-16T12:14:01.697" v="6149" actId="20577"/>
        <pc:sldMkLst>
          <pc:docMk/>
          <pc:sldMk cId="1901356455" sldId="1629"/>
        </pc:sldMkLst>
        <pc:spChg chg="mod">
          <ac:chgData name="Vinod, Kakumani" userId="17c44900-94b1-40ff-9c49-4d86853f1883" providerId="ADAL" clId="{8F1DEB0C-3D7C-074B-AF0E-FD7DDF8CE4CE}" dt="2020-06-15T13:54:27.928" v="5385" actId="20577"/>
          <ac:spMkLst>
            <pc:docMk/>
            <pc:sldMk cId="1901356455" sldId="1629"/>
            <ac:spMk id="2" creationId="{852F2F41-C9AC-5B4C-B5E2-EBFF3E1BE726}"/>
          </ac:spMkLst>
        </pc:spChg>
        <pc:spChg chg="mod">
          <ac:chgData name="Vinod, Kakumani" userId="17c44900-94b1-40ff-9c49-4d86853f1883" providerId="ADAL" clId="{8F1DEB0C-3D7C-074B-AF0E-FD7DDF8CE4CE}" dt="2020-06-16T12:14:01.697" v="6149" actId="20577"/>
          <ac:spMkLst>
            <pc:docMk/>
            <pc:sldMk cId="1901356455" sldId="1629"/>
            <ac:spMk id="3" creationId="{87D2E805-05D0-0F42-8A2C-396975E53592}"/>
          </ac:spMkLst>
        </pc:spChg>
        <pc:spChg chg="add del mod">
          <ac:chgData name="Vinod, Kakumani" userId="17c44900-94b1-40ff-9c49-4d86853f1883" providerId="ADAL" clId="{8F1DEB0C-3D7C-074B-AF0E-FD7DDF8CE4CE}" dt="2020-06-16T08:41:54.583" v="5616"/>
          <ac:spMkLst>
            <pc:docMk/>
            <pc:sldMk cId="1901356455" sldId="1629"/>
            <ac:spMk id="4" creationId="{CC97CC97-0BB9-DF44-BF85-CC1E1DFD8032}"/>
          </ac:spMkLst>
        </pc:spChg>
        <pc:spChg chg="del">
          <ac:chgData name="Vinod, Kakumani" userId="17c44900-94b1-40ff-9c49-4d86853f1883" providerId="ADAL" clId="{8F1DEB0C-3D7C-074B-AF0E-FD7DDF8CE4CE}" dt="2020-06-15T13:53:31.535" v="5321" actId="478"/>
          <ac:spMkLst>
            <pc:docMk/>
            <pc:sldMk cId="1901356455" sldId="1629"/>
            <ac:spMk id="4" creationId="{E322DC2F-4DAA-E44D-9517-66885A8763A2}"/>
          </ac:spMkLst>
        </pc:spChg>
        <pc:spChg chg="add del mod">
          <ac:chgData name="Vinod, Kakumani" userId="17c44900-94b1-40ff-9c49-4d86853f1883" providerId="ADAL" clId="{8F1DEB0C-3D7C-074B-AF0E-FD7DDF8CE4CE}" dt="2020-06-16T08:55:45.599" v="5633"/>
          <ac:spMkLst>
            <pc:docMk/>
            <pc:sldMk cId="1901356455" sldId="1629"/>
            <ac:spMk id="6" creationId="{CD9B5BCF-447D-C64A-8B8B-266EAA17F437}"/>
          </ac:spMkLst>
        </pc:spChg>
        <pc:spChg chg="add del mod">
          <ac:chgData name="Vinod, Kakumani" userId="17c44900-94b1-40ff-9c49-4d86853f1883" providerId="ADAL" clId="{8F1DEB0C-3D7C-074B-AF0E-FD7DDF8CE4CE}" dt="2020-06-16T12:13:45.495" v="6140"/>
          <ac:spMkLst>
            <pc:docMk/>
            <pc:sldMk cId="1901356455" sldId="1629"/>
            <ac:spMk id="8" creationId="{B669D67F-D3AE-E24D-8B97-10BF470EB1D4}"/>
          </ac:spMkLst>
        </pc:spChg>
        <pc:picChg chg="add del mod">
          <ac:chgData name="Vinod, Kakumani" userId="17c44900-94b1-40ff-9c49-4d86853f1883" providerId="ADAL" clId="{8F1DEB0C-3D7C-074B-AF0E-FD7DDF8CE4CE}" dt="2020-06-16T12:13:44.410" v="6138" actId="478"/>
          <ac:picMkLst>
            <pc:docMk/>
            <pc:sldMk cId="1901356455" sldId="1629"/>
            <ac:picMk id="7" creationId="{2E9C3670-26C1-2149-BF5C-71F8B8F13FA0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1059E1-8A92-412E-9FFC-46DC2A12AD11}" type="datetimeFigureOut">
              <a:rPr lang="en-US" smtClean="0"/>
              <a:t>6/16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B1AA27-3892-4360-B986-D6B124C223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088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962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Microservices appropriate if starting from scratch.” – I would disagree, microservices are appropriate when you have deep enough knowledge of domain to understand service boundaries, it is usually achieved for greenfield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ject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hen starting with monolithic arch, learn domain and then migrate to microservices – the trick is not to wait too lo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28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306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91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6958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98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1.emf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image" Target="../media/image9.jpe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image" Target="../media/image10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cbarthol\Desktop\Charlotte Work\Tools\PPT\Empower\2019 PPT cover images\women-shaking-hands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4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 bwMode="gray">
          <a:xfrm>
            <a:off x="0" y="-233"/>
            <a:ext cx="11117029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6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5" name="Rectangle 4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2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9202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Vetera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cbarthol\Desktop\Charlotte Work\Tools\PPT\Empower\2019 PPT cover images\10-military-navy-man-doctor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3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0264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Custom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noFill/>
        </p:spPr>
        <p:txBody>
          <a:bodyPr/>
          <a:lstStyle>
            <a:lvl1pPr algn="r">
              <a:defRPr/>
            </a:lvl1pPr>
          </a:lstStyle>
          <a:p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-1" y="-5893"/>
            <a:ext cx="11946577" cy="6858000"/>
          </a:xfr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>
            <a:lvl1pPr>
              <a:def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 algn="ctr" defTabSz="91419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 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 | Image instructions at right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4" name="MIO_LOGOPLACEHOLDER#LowerLeftMediumWide" hidden="1"/>
          <p:cNvSpPr/>
          <p:nvPr userDrawn="1"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0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5307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2" name="Rectangle 11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0B3B780-E62D-4D6E-8CCA-C44793C78675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72881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Content Left"/>
          <p:cNvSpPr>
            <a:spLocks noGrp="1"/>
          </p:cNvSpPr>
          <p:nvPr>
            <p:ph sz="half" idx="1" hasCustomPrompt="1"/>
          </p:nvPr>
        </p:nvSpPr>
        <p:spPr>
          <a:xfrm>
            <a:off x="495300" y="1825625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660572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1A758A-7A14-49B6-8749-8B4677DFB21D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360032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L"/>
          <p:cNvSpPr>
            <a:spLocks noGrp="1"/>
          </p:cNvSpPr>
          <p:nvPr>
            <p:ph sz="half" idx="1" hasCustomPrompt="1"/>
          </p:nvPr>
        </p:nvSpPr>
        <p:spPr>
          <a:xfrm>
            <a:off x="495300" y="1825625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660572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ubtitle L"/>
          <p:cNvSpPr>
            <a:spLocks noGrp="1"/>
          </p:cNvSpPr>
          <p:nvPr>
            <p:ph type="body" idx="13" hasCustomPrompt="1"/>
          </p:nvPr>
        </p:nvSpPr>
        <p:spPr>
          <a:xfrm>
            <a:off x="495300" y="1118282"/>
            <a:ext cx="5502275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10" name="Subtitle R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118282"/>
            <a:ext cx="5638800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7028936-D64B-476E-A860-D62BEA5CA164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462596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B5531-9B63-4C6F-875C-2AB341648D3E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235048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1" name="Rectangle 10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6C83344-934B-4C49-8227-D564BD862152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846088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1"/>
          <p:cNvSpPr>
            <a:spLocks noGrp="1"/>
          </p:cNvSpPr>
          <p:nvPr>
            <p:ph sz="half" idx="1" hasCustomPrompt="1"/>
          </p:nvPr>
        </p:nvSpPr>
        <p:spPr>
          <a:xfrm>
            <a:off x="784513" y="4401689"/>
            <a:ext cx="3335482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4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88" indent="-230188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6 pt gray text max three lin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2">
            <a:extLst>
              <a:ext uri="{FF2B5EF4-FFF2-40B4-BE49-F238E27FC236}">
                <a16:creationId xmlns:a16="http://schemas.microsoft.com/office/drawing/2014/main" id="{91B99C12-BC4B-42D3-9852-1F9B4101E13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436843" y="4401689"/>
            <a:ext cx="3335482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4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88" indent="-230188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6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3">
            <a:extLst>
              <a:ext uri="{FF2B5EF4-FFF2-40B4-BE49-F238E27FC236}">
                <a16:creationId xmlns:a16="http://schemas.microsoft.com/office/drawing/2014/main" id="{D9004B96-D94C-4153-B36B-4355853060EA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175761" y="4401689"/>
            <a:ext cx="3335482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4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88" indent="-230188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6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6843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75761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2" name="Circle 3"/>
          <p:cNvSpPr>
            <a:spLocks noGrp="1"/>
          </p:cNvSpPr>
          <p:nvPr>
            <p:ph type="body" sz="quarter" idx="16" hasCustomPrompt="1"/>
          </p:nvPr>
        </p:nvSpPr>
        <p:spPr>
          <a:xfrm>
            <a:off x="8910814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517189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151956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D64F778D-9461-44BD-867B-AAA80E4EFA24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17717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8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6" y="1828798"/>
            <a:ext cx="2194560" cy="66357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1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1" y="1828798"/>
            <a:ext cx="219456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4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4" y="1828798"/>
            <a:ext cx="219456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7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| Type insightful headline in sentence case | One line</a:t>
            </a:r>
          </a:p>
        </p:txBody>
      </p:sp>
      <p:sp>
        <p:nvSpPr>
          <p:cNvPr id="17" name="Rectangle 1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12D42D05-315F-4CBE-9891-6A33D065FD5C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711771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9079143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079143" y="1828798"/>
            <a:ext cx="274320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6217862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17862" y="1828798"/>
            <a:ext cx="27432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3356581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56581" y="1828798"/>
            <a:ext cx="27432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7432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Column | Type insightful headline in sentence case | One line</a:t>
            </a: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559A049-0620-4B95-B670-4FF3AC2882C7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682666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2-women-running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292"/>
            <a:ext cx="12192000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 bwMode="auto">
          <a:xfrm>
            <a:off x="0" y="9292"/>
            <a:ext cx="11092811" cy="6843371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1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7" name="Rectangle 16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3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23063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8177285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177285" y="1828797"/>
            <a:ext cx="36576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4336293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336293" y="1828797"/>
            <a:ext cx="36576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36576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Column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09937CDA-8B98-43AA-B05A-5913C482CDCD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89110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R"/>
          <p:cNvSpPr>
            <a:spLocks noGrp="1"/>
          </p:cNvSpPr>
          <p:nvPr>
            <p:ph type="body" sz="quarter" idx="21" hasCustomPrompt="1"/>
          </p:nvPr>
        </p:nvSpPr>
        <p:spPr>
          <a:xfrm>
            <a:off x="6313712" y="2492372"/>
            <a:ext cx="5486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R"/>
          <p:cNvSpPr>
            <a:spLocks noGrp="1"/>
          </p:cNvSpPr>
          <p:nvPr>
            <p:ph type="body" sz="quarter" idx="16" hasCustomPrompt="1"/>
          </p:nvPr>
        </p:nvSpPr>
        <p:spPr>
          <a:xfrm>
            <a:off x="6313712" y="1828797"/>
            <a:ext cx="54864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L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2492372"/>
            <a:ext cx="5486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L"/>
          <p:cNvSpPr>
            <a:spLocks noGrp="1"/>
          </p:cNvSpPr>
          <p:nvPr>
            <p:ph type="body" sz="quarter" idx="14" hasCustomPrompt="1"/>
          </p:nvPr>
        </p:nvSpPr>
        <p:spPr>
          <a:xfrm>
            <a:off x="495299" y="1828800"/>
            <a:ext cx="54864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Column | Type insightful headline in sentence case | One line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DAF7A56-DD4B-4C53-B9DB-D08EC1B7A10D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88170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L"/>
          <p:cNvSpPr>
            <a:spLocks noGrp="1"/>
          </p:cNvSpPr>
          <p:nvPr>
            <p:ph type="pic" sz="quarter" idx="23"/>
          </p:nvPr>
        </p:nvSpPr>
        <p:spPr>
          <a:xfrm>
            <a:off x="524328" y="1828800"/>
            <a:ext cx="5571671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R"/>
          <p:cNvSpPr>
            <a:spLocks noGrp="1"/>
          </p:cNvSpPr>
          <p:nvPr>
            <p:ph type="pic" sz="quarter" idx="25"/>
          </p:nvPr>
        </p:nvSpPr>
        <p:spPr>
          <a:xfrm>
            <a:off x="6096000" y="1828800"/>
            <a:ext cx="5715000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L"/>
          <p:cNvSpPr>
            <a:spLocks noGrp="1"/>
          </p:cNvSpPr>
          <p:nvPr>
            <p:ph type="body" sz="quarter" idx="24" hasCustomPrompt="1"/>
          </p:nvPr>
        </p:nvSpPr>
        <p:spPr>
          <a:xfrm>
            <a:off x="2510971" y="4470400"/>
            <a:ext cx="3585028" cy="1435100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8" name="Text R"/>
          <p:cNvSpPr>
            <a:spLocks noGrp="1"/>
          </p:cNvSpPr>
          <p:nvPr>
            <p:ph type="body" sz="quarter" idx="26" hasCustomPrompt="1"/>
          </p:nvPr>
        </p:nvSpPr>
        <p:spPr>
          <a:xfrm>
            <a:off x="8226552" y="4470400"/>
            <a:ext cx="3584448" cy="1435100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Photo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DB3E303-26EF-4168-B59F-7A10DF0110A8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394198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3"/>
          <p:cNvSpPr>
            <a:spLocks noGrp="1"/>
          </p:cNvSpPr>
          <p:nvPr>
            <p:ph type="pic" sz="quarter" idx="25"/>
          </p:nvPr>
        </p:nvSpPr>
        <p:spPr>
          <a:xfrm>
            <a:off x="8067405" y="1835374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3"/>
          <p:cNvSpPr>
            <a:spLocks noGrp="1"/>
          </p:cNvSpPr>
          <p:nvPr>
            <p:ph type="body" sz="quarter" idx="26" hasCustomPrompt="1"/>
          </p:nvPr>
        </p:nvSpPr>
        <p:spPr>
          <a:xfrm>
            <a:off x="9766519" y="3873724"/>
            <a:ext cx="2077358" cy="2031776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5" name="Picture 2"/>
          <p:cNvSpPr>
            <a:spLocks noGrp="1"/>
          </p:cNvSpPr>
          <p:nvPr>
            <p:ph type="pic" sz="quarter" idx="23"/>
          </p:nvPr>
        </p:nvSpPr>
        <p:spPr>
          <a:xfrm>
            <a:off x="4286398" y="1828800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 2"/>
          <p:cNvSpPr>
            <a:spLocks noGrp="1"/>
          </p:cNvSpPr>
          <p:nvPr>
            <p:ph type="body" sz="quarter" idx="24" hasCustomPrompt="1"/>
          </p:nvPr>
        </p:nvSpPr>
        <p:spPr>
          <a:xfrm>
            <a:off x="5985512" y="3873724"/>
            <a:ext cx="2077358" cy="2031776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9" name="Picture 1"/>
          <p:cNvSpPr>
            <a:spLocks noGrp="1"/>
          </p:cNvSpPr>
          <p:nvPr>
            <p:ph type="pic" sz="quarter" idx="22"/>
          </p:nvPr>
        </p:nvSpPr>
        <p:spPr>
          <a:xfrm>
            <a:off x="514351" y="1828800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2204321" y="3873724"/>
            <a:ext cx="2077358" cy="2031776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Photo | Type insightful headline in sentence case | One line</a:t>
            </a:r>
          </a:p>
        </p:txBody>
      </p:sp>
      <p:sp>
        <p:nvSpPr>
          <p:cNvPr id="19" name="Rectangle 1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1" name="Rectangle 2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2" name="Rectangle 21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F96D78F0-CBBC-4866-B311-48568D82837E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410390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mage 4"/>
          <p:cNvSpPr>
            <a:spLocks noGrp="1"/>
          </p:cNvSpPr>
          <p:nvPr>
            <p:ph type="pic" sz="quarter" idx="27"/>
          </p:nvPr>
        </p:nvSpPr>
        <p:spPr>
          <a:xfrm>
            <a:off x="8977313" y="1826530"/>
            <a:ext cx="2833688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Hea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10349593" y="2971800"/>
            <a:ext cx="1461407" cy="1439408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17" name="Image 3"/>
          <p:cNvSpPr>
            <a:spLocks noGrp="1"/>
          </p:cNvSpPr>
          <p:nvPr>
            <p:ph type="pic" sz="quarter" idx="25"/>
          </p:nvPr>
        </p:nvSpPr>
        <p:spPr>
          <a:xfrm>
            <a:off x="6157912" y="1826530"/>
            <a:ext cx="2821781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Hea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518285" y="2971800"/>
            <a:ext cx="1461407" cy="1439408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15" name="Image 2"/>
          <p:cNvSpPr>
            <a:spLocks noGrp="1"/>
          </p:cNvSpPr>
          <p:nvPr>
            <p:ph type="pic" sz="quarter" idx="23"/>
          </p:nvPr>
        </p:nvSpPr>
        <p:spPr>
          <a:xfrm>
            <a:off x="3333751" y="1828800"/>
            <a:ext cx="2824162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Hea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696505" y="2971800"/>
            <a:ext cx="1461407" cy="1439408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9" name="Image 1"/>
          <p:cNvSpPr>
            <a:spLocks noGrp="1"/>
          </p:cNvSpPr>
          <p:nvPr>
            <p:ph type="pic" sz="quarter" idx="22"/>
          </p:nvPr>
        </p:nvSpPr>
        <p:spPr>
          <a:xfrm>
            <a:off x="514350" y="1828800"/>
            <a:ext cx="2819400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1872342" y="2971800"/>
            <a:ext cx="1461407" cy="1439408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Photo | Type insightful headline in sentence case | One line</a:t>
            </a:r>
          </a:p>
        </p:txBody>
      </p:sp>
      <p:sp>
        <p:nvSpPr>
          <p:cNvPr id="21" name="Rectangle 2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2" name="Rectangle 2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4" name="Rectangle 2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84CCC7BF-C3F2-47F5-AEEE-5B6BE81AB706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457"/>
      </p:ext>
    </p:extLst>
  </p:cSld>
  <p:clrMapOvr>
    <a:masterClrMapping/>
  </p:clrMapOvr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mage 5"/>
          <p:cNvSpPr>
            <a:spLocks noGrp="1"/>
          </p:cNvSpPr>
          <p:nvPr>
            <p:ph type="pic" sz="quarter" idx="29"/>
          </p:nvPr>
        </p:nvSpPr>
        <p:spPr>
          <a:xfrm>
            <a:off x="9565441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Hea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10662103" y="2700789"/>
            <a:ext cx="1116693" cy="1099883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3" name="Image 4"/>
          <p:cNvSpPr>
            <a:spLocks noGrp="1"/>
          </p:cNvSpPr>
          <p:nvPr>
            <p:ph type="pic" sz="quarter" idx="27"/>
          </p:nvPr>
        </p:nvSpPr>
        <p:spPr>
          <a:xfrm>
            <a:off x="7302668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Hea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8426255" y="2700789"/>
            <a:ext cx="1116693" cy="1099883"/>
          </a:xfrm>
          <a:solidFill>
            <a:schemeClr val="accent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7" name="Image 3"/>
          <p:cNvSpPr>
            <a:spLocks noGrp="1"/>
          </p:cNvSpPr>
          <p:nvPr>
            <p:ph type="pic" sz="quarter" idx="25"/>
          </p:nvPr>
        </p:nvSpPr>
        <p:spPr>
          <a:xfrm>
            <a:off x="5039895" y="1826531"/>
            <a:ext cx="2240280" cy="1974141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Hea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163482" y="2700789"/>
            <a:ext cx="1116693" cy="1099883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5" name="Image 2"/>
          <p:cNvSpPr>
            <a:spLocks noGrp="1"/>
          </p:cNvSpPr>
          <p:nvPr>
            <p:ph type="pic" sz="quarter" idx="23"/>
          </p:nvPr>
        </p:nvSpPr>
        <p:spPr>
          <a:xfrm>
            <a:off x="2777122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Hea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900709" y="2700789"/>
            <a:ext cx="1116693" cy="1099883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9" name="Image 1"/>
          <p:cNvSpPr>
            <a:spLocks noGrp="1"/>
          </p:cNvSpPr>
          <p:nvPr>
            <p:ph type="pic" sz="quarter" idx="22"/>
          </p:nvPr>
        </p:nvSpPr>
        <p:spPr>
          <a:xfrm>
            <a:off x="514349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1637936" y="2700789"/>
            <a:ext cx="1116693" cy="1099883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Photo | Type insightful headline in sentence case | One line</a:t>
            </a:r>
          </a:p>
        </p:txBody>
      </p:sp>
      <p:sp>
        <p:nvSpPr>
          <p:cNvPr id="23" name="Rectangle 2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4" name="Rectangle 2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5" name="Rectangle 2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6" name="Rectangle 2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4627412A-143D-47A5-B380-3FDF5A161129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118491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6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6" y="1828798"/>
            <a:ext cx="2194560" cy="197031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19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1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1" y="1828798"/>
            <a:ext cx="2194560" cy="197031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4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4" y="1828798"/>
            <a:ext cx="2194560" cy="197031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17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4" y="3799114"/>
            <a:ext cx="2194563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197031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197031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171450" indent="-1714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icon | Type insightful headline in sentence case | 1 line</a:t>
            </a:r>
          </a:p>
        </p:txBody>
      </p:sp>
      <p:sp>
        <p:nvSpPr>
          <p:cNvPr id="21" name="Rectangle 2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2" name="Rectangle 2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4" name="Rectangle 2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5BB7F529-D531-4B00-935F-6FAE4D8C8E7A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439914"/>
      </p:ext>
    </p:extLst>
  </p:cSld>
  <p:clrMapOvr>
    <a:masterClrMapping/>
  </p:clrMapOvr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2318204" y="4624161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4586060"/>
            <a:ext cx="1697450" cy="130759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285750" indent="-2857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2318204" y="3242808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223758"/>
            <a:ext cx="1697450" cy="130759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285750" indent="-2857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2318204" y="1861456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697450" cy="130759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285750" indent="-2857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icon | Type insightful headline in sentence case | 1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B147A653-C30C-401B-B1C8-16CD77836741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291503"/>
      </p:ext>
    </p:extLst>
  </p:cSld>
  <p:clrMapOvr>
    <a:masterClrMapping/>
  </p:clrMapOvr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2283278" y="4940406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4940802"/>
            <a:ext cx="1700784" cy="987552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2283278" y="3914354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3914354"/>
            <a:ext cx="1700784" cy="98755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2279650" y="2888302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2887905"/>
            <a:ext cx="1700784" cy="98755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2279650" y="1861456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700784" cy="98755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icon | Type insightful headline in sentence case | 1 line</a:t>
            </a:r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4489A75-66BB-46DC-ACA9-50A57207FD08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340178"/>
      </p:ext>
    </p:extLst>
  </p:cSld>
  <p:clrMapOvr>
    <a:masterClrMapping/>
  </p:clrMapOvr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5"/>
          <p:cNvSpPr>
            <a:spLocks noGrp="1"/>
          </p:cNvSpPr>
          <p:nvPr>
            <p:ph type="body" sz="quarter" idx="24" hasCustomPrompt="1"/>
          </p:nvPr>
        </p:nvSpPr>
        <p:spPr>
          <a:xfrm>
            <a:off x="1632857" y="5133905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Hea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0" y="5143150"/>
            <a:ext cx="1050471" cy="76809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1629229" y="4315792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4322728"/>
            <a:ext cx="1050471" cy="76809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632857" y="3497680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3502304"/>
            <a:ext cx="1050471" cy="76809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2679568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2681880"/>
            <a:ext cx="1050471" cy="76809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629229" y="1861456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050471" cy="76809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icon | Type insightful headline in sentence case | 1 line</a:t>
            </a:r>
          </a:p>
        </p:txBody>
      </p:sp>
      <p:sp>
        <p:nvSpPr>
          <p:cNvPr id="18" name="Rectangle 1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1" name="Rectangle 20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8293799D-22C8-428E-90D7-05A2BF168E65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646426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cbarthol\Desktop\Charlotte Work\Tools\PPT\Empower\2019 PPT cover images\3-hallway-nurse-doctor-tablet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-234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2068629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3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14313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mage Placeholder">
            <a:extLst>
              <a:ext uri="{FF2B5EF4-FFF2-40B4-BE49-F238E27FC236}">
                <a16:creationId xmlns:a16="http://schemas.microsoft.com/office/drawing/2014/main" id="{197EC4EA-E5E8-44D0-9F07-91A93F17A78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299" y="1861456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3242808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4624161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w/photo | Type insightful headline in sentence case | 1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C6BD337-1505-42B6-839C-B5DAD748D153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53208"/>
      </p:ext>
    </p:extLst>
  </p:cSld>
  <p:clrMapOvr>
    <a:masterClrMapping/>
  </p:clrMapOvr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mage Placeholder">
            <a:extLst>
              <a:ext uri="{FF2B5EF4-FFF2-40B4-BE49-F238E27FC236}">
                <a16:creationId xmlns:a16="http://schemas.microsoft.com/office/drawing/2014/main" id="{9FCAFCC1-B988-40D7-A97B-9C6A91DB0F1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4945380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0" y="3917405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889431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0" y="1861457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w/photo | Type insightful headline in sentence case | 1 line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6E01D1CC-BD88-43BC-84EF-DEE041CAE53C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589706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mage Placeholder">
            <a:extLst>
              <a:ext uri="{FF2B5EF4-FFF2-40B4-BE49-F238E27FC236}">
                <a16:creationId xmlns:a16="http://schemas.microsoft.com/office/drawing/2014/main" id="{C54D5A4F-E02F-439F-9BD1-83F4D6C5E4B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3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0" y="5200467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4365713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0" y="3530961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696209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0" y="1861457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w/photo | Type insightful headline in sentence case | 1 line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7FD2ECD7-129B-438D-A269-E2D1ACF3E3CA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881736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MIO_LOGOPLACEHOLDER#LowerLeftSmallWide" hidden="1">
            <a:extLst>
              <a:ext uri="{FF2B5EF4-FFF2-40B4-BE49-F238E27FC236}">
                <a16:creationId xmlns:a16="http://schemas.microsoft.com/office/drawing/2014/main" id="{F1CCE3E9-DCB6-4940-A85B-0B453D43F2D3}"/>
              </a:ext>
            </a:extLst>
          </p:cNvPr>
          <p:cNvSpPr/>
          <p:nvPr userDrawn="1"/>
        </p:nvSpPr>
        <p:spPr>
          <a:xfrm>
            <a:off x="394913" y="6174567"/>
            <a:ext cx="1993392" cy="43891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sz="2000" b="0" i="0" u="none" baseline="0" dirty="0">
              <a:solidFill>
                <a:srgbClr val="55565A"/>
              </a:solidFill>
              <a:latin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9D1A9D-3D28-424B-AE57-48C268D525B9}" type="datetime1">
              <a:rPr lang="en-US" smtClean="0"/>
              <a:t>6/16/20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" y="6176286"/>
            <a:ext cx="2006970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2818667"/>
      </p:ext>
    </p:extLst>
  </p:cSld>
  <p:clrMapOvr>
    <a:masterClrMapping/>
  </p:clrMapOvr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7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0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46021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5DB066-2C57-4BDC-B3C4-D5AA4E54C31C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C9A3B4-1B40-4F34-AA17-D0A2CDDEFB09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2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60299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B94BD7-F6CB-4633-B827-DCC8BE5FE864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0C7A8F-AE53-4820-A109-E17355C4C028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1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49397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694CC-B592-44F3-8181-C62CCD2755B7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BC29CE-FDE1-4EE7-87CF-02422434B872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2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29712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Customiz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104900"/>
            <a:ext cx="5378451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537845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5" name="Imag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34100" y="0"/>
            <a:ext cx="6057900" cy="6858000"/>
          </a:xfrm>
          <a:blipFill>
            <a:blip r:embed="rId5"/>
            <a:stretch>
              <a:fillRect/>
            </a:stretch>
          </a:blipFill>
        </p:spPr>
        <p:txBody>
          <a:bodyPr lIns="914400" rIns="914400"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6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5421086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9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16342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11185357" y="6392987"/>
            <a:ext cx="692317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MIO_LOGOPLACEHOLDER#CenterBigWide" hidden="1"/>
          <p:cNvSpPr/>
          <p:nvPr userDrawn="1"/>
        </p:nvSpPr>
        <p:spPr>
          <a:xfrm>
            <a:off x="3385009" y="2060721"/>
            <a:ext cx="994399" cy="1669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6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687" y="2057400"/>
            <a:ext cx="7621574" cy="1666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06382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cbarthol\Desktop\Charlotte Work\Tools\PPT\Empower\2019 PPT cover images\4-father-child-doctor-laptop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8550233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3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58013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aker nam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3904343"/>
            <a:ext cx="7178221" cy="482887"/>
          </a:xfrm>
        </p:spPr>
        <p:txBody>
          <a:bodyPr anchor="b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Speaker 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403068"/>
            <a:ext cx="7178221" cy="484632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Phone/email"/>
          <p:cNvSpPr>
            <a:spLocks noGrp="1"/>
          </p:cNvSpPr>
          <p:nvPr>
            <p:ph type="body" idx="10" hasCustomPrompt="1"/>
          </p:nvPr>
        </p:nvSpPr>
        <p:spPr bwMode="gray">
          <a:xfrm>
            <a:off x="514348" y="5003288"/>
            <a:ext cx="7178221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: 123-456-789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AAB011-BE67-4CF8-9EF1-35D61D12B95A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35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7" name="Thank you or main 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14348" y="638629"/>
            <a:ext cx="7178040" cy="2559019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closing language</a:t>
            </a:r>
          </a:p>
        </p:txBody>
      </p:sp>
      <p:sp>
        <p:nvSpPr>
          <p:cNvPr id="26" name="Rectangle 25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8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14348" y="3177964"/>
            <a:ext cx="7178040" cy="464911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ubhead if needed</a:t>
            </a:r>
          </a:p>
        </p:txBody>
      </p:sp>
      <p:pic>
        <p:nvPicPr>
          <p:cNvPr id="12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28948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C:\Users\cbarthol\Desktop\Charlotte Work\Tools\PPT\Empower\2019 PPT cover images\5-doctor-tablet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1999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0070274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3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1875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cbarthol\Desktop\Charlotte Work\Tools\PPT\Empower\2019 PPT cover images\meeting-post-its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3"/>
            <a:ext cx="12191999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0070274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3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3097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cbarthol\Desktop\Charlotte Work\Tools\PPT\Empower\2019 PPT cover images\7-woman-sitting-phone-mobile-16x9.jpe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" t="869"/>
          <a:stretch/>
        </p:blipFill>
        <p:spPr bwMode="auto">
          <a:xfrm>
            <a:off x="0" y="0"/>
            <a:ext cx="12191999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0070274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3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9342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zion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3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23152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Milita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cbarthol\Desktop\Charlotte Work\Tools\PPT\Empower\2019 PPT cover images\9-military-army-family-happy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4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3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96" y="5846360"/>
            <a:ext cx="2869664" cy="627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7228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95300" y="0"/>
            <a:ext cx="11315700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 bwMode="gray">
          <a:xfrm>
            <a:off x="495300" y="1825625"/>
            <a:ext cx="11315700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19100" y="7039123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4"/>
                </a:solidFill>
              </a:defRPr>
            </a:lvl1pPr>
          </a:lstStyle>
          <a:p>
            <a:fld id="{510DAF7A-F987-4F1E-A936-E47EE3119E3D}" type="datetime1">
              <a:rPr lang="en-US" smtClean="0"/>
              <a:t>6/16/20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B69FDF-A621-430B-ADCC-6492A766DF3E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IO_LOGOPLACEHOLDER#LowerLeftSmallWide" hidden="1"/>
          <p:cNvSpPr/>
          <p:nvPr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empower - DO NOT DELETE!!!" hidden="1"/>
          <p:cNvSpPr/>
          <p:nvPr>
            <p:custDataLst>
              <p:tags r:id="rId4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08C8B57B-BCDA-4101-B4DD-87F49D6D31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5408" y="6448111"/>
            <a:ext cx="539496" cy="230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4"/>
                </a:solidFill>
              </a:defRPr>
            </a:lvl1pPr>
          </a:lstStyle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Box 5" hidden="1"/>
          <p:cNvSpPr txBox="1"/>
          <p:nvPr>
            <p:custDataLst>
              <p:tags r:id="rId43"/>
            </p:custDataLst>
          </p:nvPr>
        </p:nvSpPr>
        <p:spPr>
          <a:xfrm rot="20625550">
            <a:off x="1934612" y="2925786"/>
            <a:ext cx="8322776" cy="100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90000"/>
              </a:lnSpc>
              <a:spcAft>
                <a:spcPts val="400"/>
              </a:spcAft>
            </a:pPr>
            <a:endParaRPr lang="en-US" sz="660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US" sz="900">
                <a:solidFill>
                  <a:schemeClr val="accent4"/>
                </a:solidFill>
              </a:defRPr>
            </a:lvl1pPr>
          </a:lstStyle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pic>
        <p:nvPicPr>
          <p:cNvPr id="19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44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" y="6176286"/>
            <a:ext cx="2006970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9217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2" r:id="rId9"/>
    <p:sldLayoutId id="2147483973" r:id="rId10"/>
    <p:sldLayoutId id="2147483974" r:id="rId11"/>
    <p:sldLayoutId id="2147483975" r:id="rId12"/>
    <p:sldLayoutId id="2147483976" r:id="rId13"/>
    <p:sldLayoutId id="2147483977" r:id="rId14"/>
    <p:sldLayoutId id="2147483978" r:id="rId15"/>
    <p:sldLayoutId id="2147483979" r:id="rId16"/>
    <p:sldLayoutId id="2147483980" r:id="rId17"/>
    <p:sldLayoutId id="2147483981" r:id="rId18"/>
    <p:sldLayoutId id="2147483982" r:id="rId19"/>
    <p:sldLayoutId id="2147483983" r:id="rId20"/>
    <p:sldLayoutId id="2147483984" r:id="rId21"/>
    <p:sldLayoutId id="2147483985" r:id="rId22"/>
    <p:sldLayoutId id="2147483986" r:id="rId23"/>
    <p:sldLayoutId id="2147483987" r:id="rId24"/>
    <p:sldLayoutId id="2147483988" r:id="rId25"/>
    <p:sldLayoutId id="2147483989" r:id="rId26"/>
    <p:sldLayoutId id="2147483990" r:id="rId27"/>
    <p:sldLayoutId id="2147483991" r:id="rId28"/>
    <p:sldLayoutId id="2147483992" r:id="rId29"/>
    <p:sldLayoutId id="2147483993" r:id="rId30"/>
    <p:sldLayoutId id="2147483994" r:id="rId31"/>
    <p:sldLayoutId id="2147483995" r:id="rId32"/>
    <p:sldLayoutId id="2147483996" r:id="rId33"/>
    <p:sldLayoutId id="2147483997" r:id="rId34"/>
    <p:sldLayoutId id="2147483998" r:id="rId35"/>
    <p:sldLayoutId id="2147483999" r:id="rId36"/>
    <p:sldLayoutId id="2147484000" r:id="rId37"/>
    <p:sldLayoutId id="2147484001" r:id="rId38"/>
    <p:sldLayoutId id="2147484002" r:id="rId39"/>
    <p:sldLayoutId id="2147484003" r:id="rId4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​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587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2" pos="3816" userDrawn="1">
          <p15:clr>
            <a:srgbClr val="FDE53C"/>
          </p15:clr>
        </p15:guide>
        <p15:guide id="73" orient="horz" pos="3720" userDrawn="1">
          <p15:clr>
            <a:srgbClr val="F26B43"/>
          </p15:clr>
        </p15:guide>
        <p15:guide id="74" userDrawn="1">
          <p15:clr>
            <a:srgbClr val="F26B43"/>
          </p15:clr>
        </p15:guide>
        <p15:guide id="75" pos="7440" userDrawn="1">
          <p15:clr>
            <a:srgbClr val="F26B43"/>
          </p15:clr>
        </p15:guide>
        <p15:guide id="76" pos="264" userDrawn="1">
          <p15:clr>
            <a:srgbClr val="F26B43"/>
          </p15:clr>
        </p15:guide>
        <p15:guide id="77" orient="horz" pos="4080" userDrawn="1">
          <p15:clr>
            <a:srgbClr val="F26B43"/>
          </p15:clr>
        </p15:guide>
        <p15:guide id="78" pos="312" userDrawn="1">
          <p15:clr>
            <a:srgbClr val="F26B43"/>
          </p15:clr>
        </p15:guide>
        <p15:guide id="79" orient="horz" pos="240" userDrawn="1">
          <p15:clr>
            <a:srgbClr val="F26B43"/>
          </p15:clr>
        </p15:guide>
        <p15:guide id="80" orient="horz" pos="360" userDrawn="1">
          <p15:clr>
            <a:srgbClr val="F26B43"/>
          </p15:clr>
        </p15:guide>
        <p15:guide id="81" orient="horz" pos="696" userDrawn="1">
          <p15:clr>
            <a:srgbClr val="F26B43"/>
          </p15:clr>
        </p15:guide>
        <p15:guide id="82" orient="horz" pos="2472" userDrawn="1">
          <p15:clr>
            <a:srgbClr val="F26B43"/>
          </p15:clr>
        </p15:guide>
        <p15:guide id="83" orient="horz" pos="4224" userDrawn="1">
          <p15:clr>
            <a:srgbClr val="F26B43"/>
          </p15:clr>
        </p15:guide>
        <p15:guide id="84" pos="7392" userDrawn="1">
          <p15:clr>
            <a:srgbClr val="F26B43"/>
          </p15:clr>
        </p15:guide>
        <p15:guide id="85" pos="3864" userDrawn="1">
          <p15:clr>
            <a:srgbClr val="FDE53C"/>
          </p15:clr>
        </p15:guide>
        <p15:guide id="86" pos="2688" userDrawn="1">
          <p15:clr>
            <a:srgbClr val="F26B43"/>
          </p15:clr>
        </p15:guide>
        <p15:guide id="87" pos="4992" userDrawn="1">
          <p15:clr>
            <a:srgbClr val="F26B43"/>
          </p15:clr>
        </p15:guide>
        <p15:guide id="88" pos="2640" userDrawn="1">
          <p15:clr>
            <a:srgbClr val="F26B43"/>
          </p15:clr>
        </p15:guide>
        <p15:guide id="89" pos="5040" userDrawn="1">
          <p15:clr>
            <a:srgbClr val="F26B43"/>
          </p15:clr>
        </p15:guide>
        <p15:guide id="90" orient="horz" pos="2424" userDrawn="1">
          <p15:clr>
            <a:srgbClr val="F26B43"/>
          </p15:clr>
        </p15:guide>
        <p15:guide id="91" orient="horz" pos="1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8888/hie-config-server/clientapp1/dev/master/" TargetMode="Externa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cloud.spring.io/spring-cloud-config/reference/html/#_using_multiple_keys_and_key_rotation" TargetMode="Externa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8888/hie-config-server/eureka/int/master/nginx.conf" TargetMode="External"/><Relationship Id="rId2" Type="http://schemas.openxmlformats.org/officeDocument/2006/relationships/hyperlink" Target="http://localhost:8888/hie-config-server/clientapp2/dev/master/log4j2.yml" TargetMode="Externa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://localhost:8888/hie-config-server/clientapp2/int/master/nginx.conf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cloud.spring.io/spring-cloud-config/reference/html/#_embedding_the_config_server" TargetMode="Externa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developer.github.com/v3/activity/events/types/#pushevent" TargetMode="Externa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optum.com/kvinod6/spring-cloud-poc/tree/master/spring-cloud-client-app2" TargetMode="External"/><Relationship Id="rId2" Type="http://schemas.openxmlformats.org/officeDocument/2006/relationships/hyperlink" Target="https://github.optum.com/kvinod6/spring-cloud-poc/tree/master/spring-cloud-client-app1" TargetMode="Externa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optum.com/kvinod6/spring-cloud-poc/tree/master/spring-cloud-eureka-server-app" TargetMode="External"/><Relationship Id="rId2" Type="http://schemas.openxmlformats.org/officeDocument/2006/relationships/hyperlink" Target="https://github.com/spring-cloud/spring-cloud-netflix" TargetMode="Externa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optum.com/kvinod6/spring-cloud-poc/tree/master/spring-cloud-zuul-app" TargetMode="Externa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optum.com/kvinod6/spring-cloud-poc/tree/master/spring-cloud-config-app" TargetMode="External"/><Relationship Id="rId7" Type="http://schemas.openxmlformats.org/officeDocument/2006/relationships/hyperlink" Target="https://github.optum.com/kvinod6/spring-cloud-config-repo-production" TargetMode="External"/><Relationship Id="rId2" Type="http://schemas.openxmlformats.org/officeDocument/2006/relationships/hyperlink" Target="https://cloud.spring.io/spring-cloud-config/reference/html/#_accessing_backends_through_a_proxy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github.optum.com/kvinod6/spring-cloud-config-repo-stage" TargetMode="External"/><Relationship Id="rId5" Type="http://schemas.openxmlformats.org/officeDocument/2006/relationships/hyperlink" Target="https://github.optum.com/kvinod6/spring-cloud-config-repo-xass" TargetMode="External"/><Relationship Id="rId4" Type="http://schemas.openxmlformats.org/officeDocument/2006/relationships/hyperlink" Target="https://github.optum.com/kvinod6/spring-cloud-config-repo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cloud.spring.io/spring-cloud-netflix/multi/multi__service_discovery_eureka_clients.html" TargetMode="External"/><Relationship Id="rId2" Type="http://schemas.openxmlformats.org/officeDocument/2006/relationships/hyperlink" Target="https://cloud.spring.io/spring-cloud-config/reference/html/" TargetMode="Externa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www.baeldung.com/zuul-load-balancing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guide/architecture-styles/microservice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docs.microsoft.com/en-us/azure/architecture/guide/architecture-styles/microservice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cloud.spring.io/spring-cloud-config/reference/html/#_serving_alternative_formats" TargetMode="External"/><Relationship Id="rId7" Type="http://schemas.openxmlformats.org/officeDocument/2006/relationships/hyperlink" Target="https://cloud.spring.io/spring-cloud-config/reference/html/#_spring_cloud_config_client" TargetMode="External"/><Relationship Id="rId2" Type="http://schemas.openxmlformats.org/officeDocument/2006/relationships/hyperlink" Target="https://cloud.spring.io/spring-cloud-config/reference/html/#_spring_cloud_config_server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cloud.spring.io/spring-cloud-config/reference/html/#_push_notifications_and_spring_cloud_bus" TargetMode="External"/><Relationship Id="rId5" Type="http://schemas.openxmlformats.org/officeDocument/2006/relationships/hyperlink" Target="https://cloud.spring.io/spring-cloud-config/reference/html/#_embedding_the_config_server" TargetMode="External"/><Relationship Id="rId4" Type="http://schemas.openxmlformats.org/officeDocument/2006/relationships/hyperlink" Target="https://cloud.spring.io/spring-cloud-config/reference/html/#_serving_plain_text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cloud.spring.io/spring-cloud-config/reference/html/#_accessing_backends_through_a_proxy" TargetMode="Externa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5300" y="1104900"/>
            <a:ext cx="8905875" cy="2735839"/>
          </a:xfrm>
        </p:spPr>
        <p:txBody>
          <a:bodyPr/>
          <a:lstStyle/>
          <a:p>
            <a:r>
              <a:rPr lang="en-US" dirty="0"/>
              <a:t>Centralized Configuration and Service Registry/Discovery with Spring Boo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5300" y="4016377"/>
            <a:ext cx="7440386" cy="974271"/>
          </a:xfrm>
        </p:spPr>
        <p:txBody>
          <a:bodyPr/>
          <a:lstStyle/>
          <a:p>
            <a:r>
              <a:rPr lang="en-US" dirty="0"/>
              <a:t>Bharath and Vino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June 16, 2020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D98AB7A-26A5-674A-9448-E10B68ABFE24}"/>
              </a:ext>
            </a:extLst>
          </p:cNvPr>
          <p:cNvSpPr txBox="1"/>
          <p:nvPr/>
        </p:nvSpPr>
        <p:spPr>
          <a:xfrm>
            <a:off x="10949049" y="7718961"/>
            <a:ext cx="184731" cy="2862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endParaRPr lang="en-AD" sz="1400" b="0" i="0" u="none" baseline="0" dirty="0">
              <a:solidFill>
                <a:srgbClr val="5556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29154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97A9F-7FC9-6945-A928-9109EA629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AD" dirty="0"/>
              <a:t>Git as Backe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DBCEE3-E40A-D049-ABEA-81016D5FC1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365662"/>
            <a:ext cx="11315700" cy="4534395"/>
          </a:xfrm>
        </p:spPr>
        <p:txBody>
          <a:bodyPr/>
          <a:lstStyle/>
          <a:p>
            <a:r>
              <a:rPr lang="en-AD" dirty="0"/>
              <a:t>Sprint servers the application properties on “</a:t>
            </a:r>
            <a:r>
              <a:rPr lang="en-GB" dirty="0"/>
              <a:t>/{application}/{profile}/{label}” </a:t>
            </a:r>
            <a:r>
              <a:rPr lang="en-GB" dirty="0" err="1"/>
              <a:t>url</a:t>
            </a:r>
            <a:r>
              <a:rPr lang="en-GB" dirty="0"/>
              <a:t>.</a:t>
            </a:r>
          </a:p>
          <a:p>
            <a:pPr lvl="3"/>
            <a:r>
              <a:rPr lang="en-GB" dirty="0"/>
              <a:t>{application} – </a:t>
            </a:r>
            <a:r>
              <a:rPr lang="en-GB" b="1" dirty="0" err="1"/>
              <a:t>spring.application.name</a:t>
            </a:r>
            <a:endParaRPr lang="en-GB" b="1" dirty="0"/>
          </a:p>
          <a:p>
            <a:pPr lvl="3"/>
            <a:r>
              <a:rPr lang="en-GB" dirty="0"/>
              <a:t>{profile} – </a:t>
            </a:r>
            <a:r>
              <a:rPr lang="en-GB" b="1" dirty="0" err="1"/>
              <a:t>spring.profiles.active</a:t>
            </a:r>
            <a:endParaRPr lang="en-GB" b="1" dirty="0"/>
          </a:p>
          <a:p>
            <a:pPr lvl="3"/>
            <a:r>
              <a:rPr lang="en-GB" dirty="0"/>
              <a:t>{label} – </a:t>
            </a:r>
            <a:r>
              <a:rPr lang="en-GB" b="1" dirty="0" err="1"/>
              <a:t>spring.cloud.config.label</a:t>
            </a:r>
            <a:r>
              <a:rPr lang="en-GB" b="1" dirty="0"/>
              <a:t> -</a:t>
            </a:r>
            <a:r>
              <a:rPr lang="en-GB" dirty="0"/>
              <a:t> default to </a:t>
            </a:r>
            <a:r>
              <a:rPr lang="en-GB" b="1" dirty="0"/>
              <a:t>master</a:t>
            </a:r>
          </a:p>
          <a:p>
            <a:pPr lvl="3"/>
            <a:endParaRPr lang="en-GB" b="1" dirty="0"/>
          </a:p>
          <a:p>
            <a:pPr lvl="3"/>
            <a:endParaRPr lang="en-GB" b="1" dirty="0"/>
          </a:p>
          <a:p>
            <a:r>
              <a:rPr lang="en-GB" b="1" dirty="0"/>
              <a:t>Resolving Strategy:</a:t>
            </a:r>
          </a:p>
          <a:p>
            <a:pPr lvl="4"/>
            <a:r>
              <a:rPr lang="en-GB" b="1" dirty="0" err="1"/>
              <a:t>application.properties</a:t>
            </a:r>
            <a:r>
              <a:rPr lang="en-GB" b="1" dirty="0"/>
              <a:t>/.</a:t>
            </a:r>
            <a:r>
              <a:rPr lang="en-GB" b="1" dirty="0" err="1"/>
              <a:t>yml</a:t>
            </a:r>
            <a:r>
              <a:rPr lang="en-GB" b="1" dirty="0"/>
              <a:t> – generic to all applications and profiles</a:t>
            </a:r>
          </a:p>
          <a:p>
            <a:pPr lvl="4"/>
            <a:r>
              <a:rPr lang="en-GB" b="1" dirty="0"/>
              <a:t>application-{profile}.properties/.</a:t>
            </a:r>
            <a:r>
              <a:rPr lang="en-GB" b="1" dirty="0" err="1"/>
              <a:t>yml</a:t>
            </a:r>
            <a:r>
              <a:rPr lang="en-GB" b="1" dirty="0"/>
              <a:t> – generic to all application in a profile</a:t>
            </a:r>
          </a:p>
          <a:p>
            <a:pPr lvl="4"/>
            <a:r>
              <a:rPr lang="en-GB" b="1" dirty="0"/>
              <a:t>{application}-{profile}.properties/.</a:t>
            </a:r>
            <a:r>
              <a:rPr lang="en-GB" b="1" dirty="0" err="1"/>
              <a:t>yml</a:t>
            </a:r>
            <a:r>
              <a:rPr lang="en-GB" b="1" dirty="0"/>
              <a:t> – specific to an application with a profile.</a:t>
            </a:r>
          </a:p>
          <a:p>
            <a:pPr lvl="4"/>
            <a:r>
              <a:rPr lang="en-GB" b="1" dirty="0"/>
              <a:t>Ex: </a:t>
            </a:r>
            <a:r>
              <a:rPr lang="en-GB" dirty="0">
                <a:hlinkClick r:id="rId2"/>
              </a:rPr>
              <a:t>http://localhost:8888/hie-config-server/clientapp1/dev/master/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C3C579-7576-0340-9051-D816CAD78E8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9024040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952ACB-61FC-EB4B-9351-4B94AA404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D" dirty="0"/>
              <a:t>Enable Securit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1E46FC-BC25-0847-8559-95C9BBE597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9564-4C32-5C45-BF45-0239CCB5FD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542917"/>
            <a:ext cx="11163300" cy="130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509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963E9-29E6-AD44-973F-FEAD8CFC1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D" dirty="0"/>
              <a:t>Encryption and Decry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D698D0-5629-544F-B90C-3C19BF256F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299411"/>
            <a:ext cx="11315700" cy="4600646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en-AD" sz="1600" dirty="0"/>
              <a:t>/encrypt and /decrypt endpoint helps in encrypt/decrypt the properties.</a:t>
            </a:r>
          </a:p>
          <a:p>
            <a:pPr lvl="3" indent="0">
              <a:buNone/>
            </a:pPr>
            <a:r>
              <a:rPr lang="en-AD" sz="1600" dirty="0"/>
              <a:t>Ex: </a:t>
            </a:r>
            <a:r>
              <a:rPr lang="en-GB" sz="1600" dirty="0"/>
              <a:t>'{cipher}FKSAJDFGYOS8F7GLHAKERGFHLSAJ’</a:t>
            </a:r>
          </a:p>
          <a:p>
            <a:pPr marL="915988" lvl="3" indent="-457200">
              <a:buFont typeface="+mj-lt"/>
              <a:buAutoNum type="alphaLcParenR"/>
            </a:pPr>
            <a:r>
              <a:rPr lang="en-GB" sz="1600" dirty="0"/>
              <a:t>encryption and decryption depends on “</a:t>
            </a:r>
            <a:r>
              <a:rPr lang="en-GB" sz="1600" dirty="0" err="1"/>
              <a:t>encrypt.key</a:t>
            </a:r>
            <a:r>
              <a:rPr lang="en-GB" sz="1600" dirty="0"/>
              <a:t>” property (symmetric) or RSA key pair (asymmetric).</a:t>
            </a:r>
          </a:p>
          <a:p>
            <a:pPr lvl="3" indent="0">
              <a:buNone/>
            </a:pPr>
            <a:endParaRPr lang="en-AD" sz="1600" dirty="0"/>
          </a:p>
          <a:p>
            <a:pPr lvl="3" indent="0">
              <a:buNone/>
            </a:pPr>
            <a:endParaRPr lang="en-AD" sz="1600" dirty="0"/>
          </a:p>
          <a:p>
            <a:pPr lvl="3" indent="0">
              <a:buNone/>
            </a:pPr>
            <a:endParaRPr lang="en-AD" sz="1600" dirty="0"/>
          </a:p>
          <a:p>
            <a:pPr lvl="3" indent="0">
              <a:buNone/>
            </a:pPr>
            <a:endParaRPr lang="en-AD" sz="1600" dirty="0"/>
          </a:p>
          <a:p>
            <a:pPr lvl="3" indent="0">
              <a:buNone/>
            </a:pPr>
            <a:endParaRPr lang="en-AD" sz="1600" dirty="0"/>
          </a:p>
          <a:p>
            <a:pPr lvl="3" indent="0">
              <a:buNone/>
            </a:pPr>
            <a:endParaRPr lang="en-AD" sz="1600" dirty="0"/>
          </a:p>
          <a:p>
            <a:pPr lvl="3" indent="0">
              <a:buNone/>
            </a:pPr>
            <a:endParaRPr lang="en-AD" sz="1600" dirty="0"/>
          </a:p>
          <a:p>
            <a:pPr marL="457200" indent="-457200">
              <a:buFont typeface="+mj-lt"/>
              <a:buAutoNum type="arabicPeriod"/>
            </a:pPr>
            <a:r>
              <a:rPr lang="en-AD" sz="1600" dirty="0"/>
              <a:t>Encrypted properties are safely decrypted before delivering it to client.</a:t>
            </a:r>
          </a:p>
          <a:p>
            <a:pPr marL="457200" indent="-457200">
              <a:buFont typeface="+mj-lt"/>
              <a:buAutoNum type="arabicPeriod"/>
            </a:pPr>
            <a:r>
              <a:rPr lang="en-AD" sz="1600" dirty="0"/>
              <a:t>If any {cypher} is not descrypted, those properties will be removed before serving the request </a:t>
            </a:r>
            <a:r>
              <a:rPr lang="en-GB" sz="1600" dirty="0"/>
              <a:t>to prevent cipher text being used as a password and accidentally leaking.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1600" dirty="0"/>
              <a:t>Supports multiple key rotation modal for better security. – (</a:t>
            </a:r>
            <a:r>
              <a:rPr lang="en-GB" sz="1600" dirty="0">
                <a:hlinkClick r:id="rId2"/>
              </a:rPr>
              <a:t>https://cloud.spring.io/spring-cloud-config/reference/html/#_using_multiple_keys_and_key_rotation</a:t>
            </a:r>
            <a:r>
              <a:rPr lang="en-GB" sz="1600" dirty="0"/>
              <a:t>)</a:t>
            </a:r>
          </a:p>
          <a:p>
            <a:pPr marL="457200" indent="-457200">
              <a:buFont typeface="+mj-lt"/>
              <a:buAutoNum type="arabicPeriod"/>
            </a:pPr>
            <a:endParaRPr lang="en-A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202B55-8A7E-DB4C-823F-96084F13634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/>
              <a:t>© 2019 Optum, Inc. All rights reserved. Confidential property of Optum. Do not distribute or reproduce without express permission from Optum.</a:t>
            </a: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775D95DF-3441-504B-9861-B3B9CA436C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98" y="2240118"/>
            <a:ext cx="8735298" cy="2031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5361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CB53E1-C698-5241-AD30-7FBFDAC922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D" dirty="0"/>
              <a:t>Serving Encrypted Proper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BB5A68-3A1A-A643-BA87-382E8C8734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357162"/>
            <a:ext cx="11315700" cy="4542895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AD" dirty="0"/>
              <a:t>We can also serve encrypted properties directly to client to decrypt them at client apps.</a:t>
            </a:r>
          </a:p>
          <a:p>
            <a:pPr lvl="4">
              <a:buNone/>
            </a:pPr>
            <a:r>
              <a:rPr lang="en-AD" dirty="0"/>
              <a:t>“</a:t>
            </a:r>
            <a:r>
              <a:rPr lang="en-GB" dirty="0" err="1">
                <a:solidFill>
                  <a:srgbClr val="00B0F0"/>
                </a:solidFill>
              </a:rPr>
              <a:t>spring.cloud.config.server.encrypt.enabled</a:t>
            </a:r>
            <a:r>
              <a:rPr lang="en-GB" dirty="0">
                <a:solidFill>
                  <a:srgbClr val="00B0F0"/>
                </a:solidFill>
              </a:rPr>
              <a:t>=false</a:t>
            </a:r>
            <a:r>
              <a:rPr lang="en-GB" dirty="0"/>
              <a:t>”</a:t>
            </a:r>
          </a:p>
          <a:p>
            <a:pPr marL="228600" indent="-457200">
              <a:buFont typeface="+mj-lt"/>
              <a:buAutoNum type="arabicPeriod"/>
            </a:pPr>
            <a:r>
              <a:rPr lang="en-AD" dirty="0"/>
              <a:t>We can still we </a:t>
            </a:r>
            <a:r>
              <a:rPr lang="en-AD" dirty="0">
                <a:solidFill>
                  <a:srgbClr val="00B0F0"/>
                </a:solidFill>
              </a:rPr>
              <a:t>/encrypt </a:t>
            </a:r>
            <a:r>
              <a:rPr lang="en-AD" dirty="0"/>
              <a:t>and </a:t>
            </a:r>
            <a:r>
              <a:rPr lang="en-AD" dirty="0">
                <a:solidFill>
                  <a:srgbClr val="00B0F0"/>
                </a:solidFill>
              </a:rPr>
              <a:t>/decrypt</a:t>
            </a:r>
            <a:r>
              <a:rPr lang="en-AD" dirty="0"/>
              <a:t> endpoint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60EAA3-C307-8E40-8C37-E4755409E04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6755807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580657-0374-D64D-83BA-ACF461DF8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D" dirty="0"/>
              <a:t>Serving Alternative Forma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440AD0-EF46-3946-9B49-3C051F1FCD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82291"/>
            <a:ext cx="11315700" cy="4417766"/>
          </a:xfrm>
        </p:spPr>
        <p:txBody>
          <a:bodyPr/>
          <a:lstStyle/>
          <a:p>
            <a:pPr algn="just"/>
            <a:r>
              <a:rPr lang="en-AD" dirty="0"/>
              <a:t>Spring Config Server has capability to deliver the properties in different formats.</a:t>
            </a:r>
          </a:p>
          <a:p>
            <a:r>
              <a:rPr lang="en-AD" dirty="0"/>
              <a:t>Supported formats are:</a:t>
            </a:r>
          </a:p>
          <a:p>
            <a:pPr lvl="1"/>
            <a:r>
              <a:rPr lang="en-AD" dirty="0"/>
              <a:t>JSON - Default</a:t>
            </a:r>
          </a:p>
          <a:p>
            <a:pPr lvl="1"/>
            <a:r>
              <a:rPr lang="en-AD" dirty="0"/>
              <a:t>YML or YAML</a:t>
            </a:r>
          </a:p>
          <a:p>
            <a:pPr lvl="1"/>
            <a:r>
              <a:rPr lang="en-AD" dirty="0"/>
              <a:t>.properti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C37247-FAD4-C943-A01F-5A86BAA2D01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902244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0151DD-665A-384F-9179-6AC4FB4052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D" dirty="0"/>
              <a:t>Service Plain Tex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04E95E-8BD7-3241-954C-7A090F3FBA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4914"/>
            <a:ext cx="11315700" cy="4485143"/>
          </a:xfrm>
        </p:spPr>
        <p:txBody>
          <a:bodyPr/>
          <a:lstStyle/>
          <a:p>
            <a:r>
              <a:rPr lang="en-AD" sz="1600" dirty="0"/>
              <a:t>Spring config server has capability to serve plain text files like l</a:t>
            </a:r>
            <a:r>
              <a:rPr lang="en-GB" sz="1600" dirty="0"/>
              <a:t>og4j2.yml</a:t>
            </a:r>
            <a:r>
              <a:rPr lang="en-AD" sz="1600" dirty="0"/>
              <a:t>.</a:t>
            </a:r>
          </a:p>
          <a:p>
            <a:r>
              <a:rPr lang="en-AD" sz="1600" dirty="0"/>
              <a:t>Sprint servers these files on “</a:t>
            </a:r>
            <a:r>
              <a:rPr lang="en-GB" sz="1600" dirty="0"/>
              <a:t>/{application}/{profile}/{label}/{path}”</a:t>
            </a:r>
          </a:p>
          <a:p>
            <a:pPr lvl="3"/>
            <a:r>
              <a:rPr lang="en-GB" sz="1600" dirty="0"/>
              <a:t>{application} – </a:t>
            </a:r>
            <a:r>
              <a:rPr lang="en-GB" sz="1600" dirty="0" err="1"/>
              <a:t>spring.application.name</a:t>
            </a:r>
            <a:endParaRPr lang="en-GB" sz="1600" dirty="0"/>
          </a:p>
          <a:p>
            <a:pPr lvl="3"/>
            <a:r>
              <a:rPr lang="en-GB" sz="1600" dirty="0"/>
              <a:t>{profile} – </a:t>
            </a:r>
            <a:r>
              <a:rPr lang="en-GB" sz="1600" dirty="0" err="1"/>
              <a:t>spring.profiles.active</a:t>
            </a:r>
            <a:endParaRPr lang="en-GB" sz="1600" dirty="0"/>
          </a:p>
          <a:p>
            <a:pPr lvl="3"/>
            <a:r>
              <a:rPr lang="en-GB" sz="1600" dirty="0"/>
              <a:t>{label} – Git branch name – default to master</a:t>
            </a:r>
          </a:p>
          <a:p>
            <a:pPr lvl="3"/>
            <a:r>
              <a:rPr lang="en-GB" sz="1600" dirty="0"/>
              <a:t>{path} – path to file. Ex: log4j2.yml</a:t>
            </a:r>
          </a:p>
          <a:p>
            <a:pPr marL="228600" lvl="3" indent="0">
              <a:buNone/>
            </a:pPr>
            <a:r>
              <a:rPr lang="en-GB" sz="1600" dirty="0"/>
              <a:t>Ex: </a:t>
            </a:r>
            <a:r>
              <a:rPr lang="en-GB" sz="1600" dirty="0">
                <a:hlinkClick r:id="rId2"/>
              </a:rPr>
              <a:t>http://localhost:8888/hie-config-server/clientapp2/dev/master/log4j2.yml</a:t>
            </a:r>
            <a:endParaRPr lang="en-GB" sz="1600" dirty="0"/>
          </a:p>
          <a:p>
            <a:pPr marL="228600" lvl="3" indent="0">
              <a:buNone/>
            </a:pPr>
            <a:endParaRPr lang="en-GB" sz="1600" dirty="0"/>
          </a:p>
          <a:p>
            <a:pPr marL="0" lvl="2" indent="-1588">
              <a:buNone/>
            </a:pPr>
            <a:r>
              <a:rPr lang="en-GB" sz="1600" dirty="0"/>
              <a:t>Spring placeholders are supported in plain text files:</a:t>
            </a:r>
          </a:p>
          <a:p>
            <a:pPr marL="228600" lvl="3" indent="0">
              <a:buNone/>
            </a:pPr>
            <a:r>
              <a:rPr lang="en-GB" sz="1600" dirty="0">
                <a:hlinkClick r:id="rId3"/>
              </a:rPr>
              <a:t>http://localhost:8888/hie-config-server/eureka/int/master/nginx.conf</a:t>
            </a:r>
            <a:endParaRPr lang="en-GB" sz="1600" dirty="0"/>
          </a:p>
          <a:p>
            <a:pPr marL="228600" lvl="3" indent="0">
              <a:buNone/>
            </a:pPr>
            <a:r>
              <a:rPr lang="en-GB" sz="1600" dirty="0">
                <a:hlinkClick r:id="rId4"/>
              </a:rPr>
              <a:t>http://localhost:8888/hie-config-server/clientapp2/int/master/nginx.conf</a:t>
            </a:r>
            <a:endParaRPr lang="en-GB" sz="1600" dirty="0"/>
          </a:p>
          <a:p>
            <a:pPr marL="228600" lvl="3" indent="0">
              <a:buNone/>
            </a:pPr>
            <a:endParaRPr lang="en-GB" sz="1600" dirty="0"/>
          </a:p>
          <a:p>
            <a:pPr marL="0" lvl="2" indent="-1588">
              <a:buNone/>
            </a:pPr>
            <a:r>
              <a:rPr lang="en-GB" sz="1600" dirty="0"/>
              <a:t>Encryption is not enabled for plain text files by default. We can enabled by adding</a:t>
            </a:r>
          </a:p>
          <a:p>
            <a:pPr marL="230188" lvl="3" indent="-1588">
              <a:buNone/>
            </a:pPr>
            <a:r>
              <a:rPr lang="en-GB" sz="1600" dirty="0" err="1">
                <a:solidFill>
                  <a:srgbClr val="00B0F0"/>
                </a:solidFill>
              </a:rPr>
              <a:t>spring.cloud.config.server.encrypt.plainTextEncrypt</a:t>
            </a:r>
            <a:r>
              <a:rPr lang="en-GB" sz="1600" dirty="0">
                <a:solidFill>
                  <a:srgbClr val="00B0F0"/>
                </a:solidFill>
              </a:rPr>
              <a:t>=true</a:t>
            </a:r>
            <a:r>
              <a:rPr lang="en-GB" sz="1600" dirty="0"/>
              <a:t> in </a:t>
            </a:r>
            <a:r>
              <a:rPr lang="en-GB" sz="1600" dirty="0">
                <a:solidFill>
                  <a:srgbClr val="00B0F0"/>
                </a:solidFill>
              </a:rPr>
              <a:t>bootstrap.[</a:t>
            </a:r>
            <a:r>
              <a:rPr lang="en-GB" sz="1600" dirty="0" err="1">
                <a:solidFill>
                  <a:srgbClr val="00B0F0"/>
                </a:solidFill>
              </a:rPr>
              <a:t>yml|properties</a:t>
            </a:r>
            <a:r>
              <a:rPr lang="en-GB" sz="1600" dirty="0">
                <a:solidFill>
                  <a:srgbClr val="00B0F0"/>
                </a:solidFill>
              </a:rPr>
              <a:t>]</a:t>
            </a:r>
          </a:p>
          <a:p>
            <a:pPr marL="228600" lvl="3" indent="0">
              <a:buNone/>
            </a:pPr>
            <a:endParaRPr lang="en-AD" dirty="0"/>
          </a:p>
          <a:p>
            <a:endParaRPr lang="en-A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EC668F-FDE5-7E4B-84E7-36AA0316D1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8087134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8EDE03-8418-304F-9374-A1A747D5A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D" dirty="0"/>
              <a:t>Embedding Config Serv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55A016-D15F-8448-86C3-21A1E07BAE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309035"/>
            <a:ext cx="11315700" cy="4591021"/>
          </a:xfrm>
        </p:spPr>
        <p:txBody>
          <a:bodyPr/>
          <a:lstStyle/>
          <a:p>
            <a:endParaRPr lang="en-AD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D" dirty="0"/>
              <a:t>Spring config server works better as standalone – As per the spring doc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D" dirty="0"/>
              <a:t>Still we can embed our config server along with any spring boot application – Not recommended.</a:t>
            </a:r>
          </a:p>
          <a:p>
            <a:pPr marL="573088" lvl="1" indent="-342900"/>
            <a:r>
              <a:rPr lang="en-AD" dirty="0"/>
              <a:t>Reference: </a:t>
            </a:r>
            <a:r>
              <a:rPr lang="en-GB" dirty="0">
                <a:hlinkClick r:id="rId2"/>
              </a:rPr>
              <a:t>https://cloud.spring.io/spring-cloud-config/reference/html/#_embedding_the_config_server</a:t>
            </a:r>
            <a:endParaRPr lang="en-A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C6E891-3D82-BA43-85B6-4017843CAF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19660970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E54146-E972-084A-88E9-4B0E34B2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D" dirty="0"/>
              <a:t>Push Notifications and Spring Cloud B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4B3749-A50E-F946-9BF3-3453EF3B24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328286"/>
            <a:ext cx="11315700" cy="457177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 </a:t>
            </a:r>
            <a:r>
              <a:rPr lang="en-GB" dirty="0">
                <a:hlinkClick r:id="rId2"/>
              </a:rPr>
              <a:t>Github</a:t>
            </a:r>
            <a:r>
              <a:rPr lang="en-GB" dirty="0"/>
              <a:t> uses a POST to the webhook with a JSON body containing a list of commits and a header (X-</a:t>
            </a:r>
            <a:r>
              <a:rPr lang="en-GB" dirty="0" err="1"/>
              <a:t>Github</a:t>
            </a:r>
            <a:r>
              <a:rPr lang="en-GB" dirty="0"/>
              <a:t>-Event) set to push.</a:t>
            </a:r>
            <a:endParaRPr lang="en-GB" dirty="0">
              <a:solidFill>
                <a:srgbClr val="00B0F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B0F0"/>
                </a:solidFill>
              </a:rPr>
              <a:t>/monitor </a:t>
            </a:r>
            <a:r>
              <a:rPr lang="en-GB" dirty="0"/>
              <a:t>endpoint can be enabled on Spring Boot Config Server by adding “</a:t>
            </a:r>
            <a:r>
              <a:rPr lang="en-GB" dirty="0">
                <a:solidFill>
                  <a:srgbClr val="00B0F0"/>
                </a:solidFill>
              </a:rPr>
              <a:t>spring-cloud-config-monitor</a:t>
            </a:r>
            <a:r>
              <a:rPr lang="en-GB" dirty="0"/>
              <a:t>” dependenc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 “</a:t>
            </a:r>
            <a:r>
              <a:rPr lang="en-GB" dirty="0" err="1">
                <a:solidFill>
                  <a:srgbClr val="00B0F0"/>
                </a:solidFill>
              </a:rPr>
              <a:t>RefreshRemoteApplicationEvent</a:t>
            </a:r>
            <a:r>
              <a:rPr lang="en-GB" dirty="0"/>
              <a:t>” will be triggered at targeted application based on the files changed.</a:t>
            </a:r>
          </a:p>
          <a:p>
            <a:pPr marL="573088" lvl="1" indent="-342900"/>
            <a:r>
              <a:rPr lang="en-GB" dirty="0"/>
              <a:t>clientapp2.properties targets to client-app-2 app</a:t>
            </a:r>
          </a:p>
          <a:p>
            <a:pPr marL="573088" lvl="1" indent="-342900"/>
            <a:r>
              <a:rPr lang="en-GB" dirty="0" err="1"/>
              <a:t>application.properties</a:t>
            </a:r>
            <a:r>
              <a:rPr lang="en-GB" dirty="0"/>
              <a:t> targets to all applications.</a:t>
            </a:r>
            <a:endParaRPr lang="en-AD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D" dirty="0"/>
              <a:t>A manual trigger on “</a:t>
            </a:r>
            <a:r>
              <a:rPr lang="en-GB" dirty="0">
                <a:solidFill>
                  <a:srgbClr val="00B0F0"/>
                </a:solidFill>
              </a:rPr>
              <a:t>/monitor</a:t>
            </a:r>
            <a:r>
              <a:rPr lang="en-GB" dirty="0"/>
              <a:t>” endpoint with form-encoded body parameters  in the pattern of </a:t>
            </a:r>
            <a:r>
              <a:rPr lang="en-GB" dirty="0">
                <a:solidFill>
                  <a:srgbClr val="00B0F0"/>
                </a:solidFill>
              </a:rPr>
              <a:t>path={application}</a:t>
            </a:r>
            <a:endParaRPr lang="en-AD" dirty="0">
              <a:solidFill>
                <a:srgbClr val="00B0F0"/>
              </a:solidFill>
            </a:endParaRPr>
          </a:p>
          <a:p>
            <a:pPr lvl="4">
              <a:buNone/>
            </a:pPr>
            <a:r>
              <a:rPr lang="en-AD" dirty="0"/>
              <a:t>Ex: POST /monitor</a:t>
            </a:r>
          </a:p>
          <a:p>
            <a:pPr lvl="4">
              <a:buNone/>
            </a:pPr>
            <a:r>
              <a:rPr lang="en-AD" dirty="0"/>
              <a:t>	   Body path=clientapp* - Wildcard characters are allowed.</a:t>
            </a:r>
          </a:p>
          <a:p>
            <a:pPr marL="573088" lvl="1" indent="-342900"/>
            <a:endParaRPr lang="en-GB" dirty="0"/>
          </a:p>
          <a:p>
            <a:pPr>
              <a:buNone/>
            </a:pPr>
            <a:endParaRPr lang="en-A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317A2C-12D1-5F46-9B22-1E0B67FCDB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2041227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A1F9A-36CE-3F48-A2DE-FAABFE61A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D" dirty="0"/>
              <a:t>Spring Cloud Config Cli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769729-8E1C-074F-A9D1-A878A3BFFA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366787"/>
            <a:ext cx="11315700" cy="4533270"/>
          </a:xfrm>
        </p:spPr>
        <p:txBody>
          <a:bodyPr/>
          <a:lstStyle/>
          <a:p>
            <a:r>
              <a:rPr lang="en-AD" dirty="0"/>
              <a:t>Sample Implementations:</a:t>
            </a:r>
          </a:p>
          <a:p>
            <a:r>
              <a:rPr lang="en-AD" dirty="0"/>
              <a:t>Client App1: </a:t>
            </a:r>
            <a:r>
              <a:rPr lang="en-GB" dirty="0">
                <a:hlinkClick r:id="rId2"/>
              </a:rPr>
              <a:t>https://github.optum.com/kvinod6/spring-cloud-poc/tree/master/spring-cloud-client-app1</a:t>
            </a:r>
            <a:endParaRPr lang="en-GB" dirty="0"/>
          </a:p>
          <a:p>
            <a:r>
              <a:rPr lang="en-GB" dirty="0"/>
              <a:t>Client App2: </a:t>
            </a:r>
            <a:r>
              <a:rPr lang="en-GB" dirty="0">
                <a:hlinkClick r:id="rId3"/>
              </a:rPr>
              <a:t>https://github.optum.com/kvinod6/spring-cloud-poc/tree/master/spring-cloud-client-app2</a:t>
            </a:r>
            <a:endParaRPr lang="en-GB" dirty="0"/>
          </a:p>
          <a:p>
            <a:endParaRPr lang="en-A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9A9AF3-9551-F14C-84E2-8D9125AD5B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5323955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778D4-60A0-9847-B588-FEA139342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D" dirty="0"/>
              <a:t>Service Registry with Eurek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305B3A-BD0B-BB4F-9B3A-82F3723517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337912"/>
            <a:ext cx="11315700" cy="456214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Eureka is a REST (Representational State Transfer) based service that is primarily used for locating services.</a:t>
            </a:r>
            <a:endParaRPr lang="en-GB" dirty="0">
              <a:hlinkClick r:id="rId2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It enables client-side load-balancing and decouples service providers from consumers without the need for DNS.</a:t>
            </a:r>
            <a:endParaRPr lang="en-GB" dirty="0">
              <a:hlinkClick r:id="rId3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>
              <a:hlinkClick r:id="rId3"/>
            </a:endParaRPr>
          </a:p>
          <a:p>
            <a:r>
              <a:rPr lang="en-GB" dirty="0">
                <a:hlinkClick r:id="rId3"/>
              </a:rPr>
              <a:t>https://github.optum.com/kvinod6/spring-cloud-poc/tree/master/spring-cloud-eureka-server-app</a:t>
            </a:r>
            <a:endParaRPr lang="en-A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29FD7E-3216-D94C-85CC-6735E19A18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10976521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5300" y="0"/>
            <a:ext cx="11315700" cy="1074058"/>
          </a:xfrm>
        </p:spPr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42" name="Rectangle: Rounded Corners 57"/>
          <p:cNvSpPr/>
          <p:nvPr/>
        </p:nvSpPr>
        <p:spPr>
          <a:xfrm>
            <a:off x="484094" y="1189029"/>
            <a:ext cx="11117190" cy="36512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775" tIns="121890" rIns="243775" bIns="121890" rtlCol="0" anchor="ctr"/>
          <a:lstStyle/>
          <a:p>
            <a:pPr>
              <a:spcAft>
                <a:spcPts val="800"/>
              </a:spcAft>
            </a:pPr>
            <a:r>
              <a:rPr lang="en-US" sz="2000" dirty="0">
                <a:solidFill>
                  <a:schemeClr val="tx1"/>
                </a:solidFill>
                <a:latin typeface="Arial Narrow" panose="020B0606020202030204" pitchFamily="34" charset="0"/>
              </a:rPr>
              <a:t>Why Microservices ?</a:t>
            </a:r>
          </a:p>
        </p:txBody>
      </p:sp>
      <p:sp>
        <p:nvSpPr>
          <p:cNvPr id="150" name="Content Placeholder 12"/>
          <p:cNvSpPr txBox="1">
            <a:spLocks/>
          </p:cNvSpPr>
          <p:nvPr/>
        </p:nvSpPr>
        <p:spPr>
          <a:xfrm>
            <a:off x="590716" y="5717512"/>
            <a:ext cx="10467809" cy="212893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8788" indent="-2301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14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14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b="1" dirty="0"/>
          </a:p>
          <a:p>
            <a:pPr lvl="1"/>
            <a:endParaRPr lang="en-US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8832EA-AEDA-4AAD-AE18-C42EBAF689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2681" y="6464961"/>
            <a:ext cx="8248603" cy="31701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CEFC978-998F-094B-B4E3-F2C6FB08D7B5}"/>
              </a:ext>
            </a:extLst>
          </p:cNvPr>
          <p:cNvSpPr txBox="1"/>
          <p:nvPr/>
        </p:nvSpPr>
        <p:spPr>
          <a:xfrm>
            <a:off x="495300" y="1724334"/>
            <a:ext cx="5817618" cy="136345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Smaller and independent servic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Autonomous processes and communicate through API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Scaling configuration based on needs/demands of each servic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Each service can be implemented in different languag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Scales by distributing services as needed across multiple machines</a:t>
            </a:r>
          </a:p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endParaRPr lang="en-AD" sz="1400" b="0" i="0" u="none" baseline="0" dirty="0">
              <a:solidFill>
                <a:srgbClr val="5556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77045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F2F41-C9AC-5B4C-B5E2-EBFF3E1BE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D" dirty="0"/>
              <a:t>Proxy Config with Zuu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D2E805-05D0-0F42-8A2C-396975E535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386038"/>
            <a:ext cx="11315700" cy="451401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/>
              <a:t>Zuul</a:t>
            </a:r>
            <a:r>
              <a:rPr lang="en-GB" sz="1600" dirty="0"/>
              <a:t> is the front door for all requests from devices and web sites to the backend servic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/>
              <a:t>Zuul</a:t>
            </a:r>
            <a:r>
              <a:rPr lang="en-GB" sz="1600" dirty="0"/>
              <a:t> uses a range of different types of filters that enables us to quickly and nimbly apply functionality to our edge servic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4"/>
            <a:r>
              <a:rPr lang="en-GB" sz="1200" b="1" dirty="0"/>
              <a:t>Authentication and Security</a:t>
            </a:r>
            <a:r>
              <a:rPr lang="en-GB" sz="1200" dirty="0"/>
              <a:t> - identifying authentication requirements for each resource and rejecting requests that do not satisfy them.</a:t>
            </a:r>
          </a:p>
          <a:p>
            <a:pPr lvl="4"/>
            <a:r>
              <a:rPr lang="en-GB" sz="1200" b="1" dirty="0"/>
              <a:t>Insights and Monitoring</a:t>
            </a:r>
            <a:r>
              <a:rPr lang="en-GB" sz="1200" dirty="0"/>
              <a:t> - tracking meaningful data and statistics at the edge in order to give us an accurate view of production.</a:t>
            </a:r>
          </a:p>
          <a:p>
            <a:pPr lvl="4"/>
            <a:r>
              <a:rPr lang="en-GB" sz="1200" b="1" dirty="0"/>
              <a:t>Dynamic Routing</a:t>
            </a:r>
            <a:r>
              <a:rPr lang="en-GB" sz="1200" dirty="0"/>
              <a:t> - dynamically routing requests to different backend clusters as needed.</a:t>
            </a:r>
          </a:p>
          <a:p>
            <a:pPr lvl="4"/>
            <a:r>
              <a:rPr lang="en-GB" sz="1200" b="1" dirty="0"/>
              <a:t>Stress Testing</a:t>
            </a:r>
            <a:r>
              <a:rPr lang="en-GB" sz="1200" dirty="0"/>
              <a:t> - gradually increasing the traffic to a cluster in order to gauge performance.</a:t>
            </a:r>
          </a:p>
          <a:p>
            <a:pPr lvl="4"/>
            <a:r>
              <a:rPr lang="en-GB" sz="1200" b="1" dirty="0"/>
              <a:t>Load Shedding</a:t>
            </a:r>
            <a:r>
              <a:rPr lang="en-GB" sz="1200" dirty="0"/>
              <a:t> - allocating capacity for each type of request and dropping requests that go over the limit.</a:t>
            </a:r>
          </a:p>
          <a:p>
            <a:pPr lvl="4"/>
            <a:r>
              <a:rPr lang="en-GB" sz="1200" b="1" dirty="0"/>
              <a:t>Static Response handling </a:t>
            </a:r>
            <a:r>
              <a:rPr lang="en-GB" sz="1200" dirty="0"/>
              <a:t>- building some responses directly at the edge instead of forwarding them to an internal cluster.</a:t>
            </a:r>
          </a:p>
          <a:p>
            <a:pPr lvl="4"/>
            <a:r>
              <a:rPr lang="en-GB" sz="1200" b="1" dirty="0" err="1"/>
              <a:t>Multiregion</a:t>
            </a:r>
            <a:r>
              <a:rPr lang="en-GB" sz="1200" b="1" dirty="0"/>
              <a:t> Resiliency</a:t>
            </a:r>
            <a:r>
              <a:rPr lang="en-GB" sz="1200" dirty="0"/>
              <a:t> - routing requests across different regions in order to diversify our ELB usage and move our edge closer to our members.</a:t>
            </a:r>
          </a:p>
          <a:p>
            <a:br>
              <a:rPr lang="en-GB" sz="1600" dirty="0"/>
            </a:br>
            <a:r>
              <a:rPr lang="en-GB" sz="1600" dirty="0"/>
              <a:t>Sample Application: </a:t>
            </a:r>
            <a:r>
              <a:rPr lang="en-GB" sz="1600" dirty="0">
                <a:hlinkClick r:id="rId2"/>
              </a:rPr>
              <a:t>https://github.optum.com/kvinod6/spring-cloud-poc/tree/master/spring-cloud-zuul-app</a:t>
            </a:r>
            <a:endParaRPr lang="en-AD" sz="16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5D0B40-2E34-1D4C-A4F2-C49BA5F111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19013564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8FA77-91BF-8C4D-A602-16BABB79C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AD" dirty="0"/>
              <a:t>Spring POC GIT Rep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E5E7FE-97AC-A440-B9A0-CA8667DB8D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232034"/>
            <a:ext cx="11315700" cy="4668023"/>
          </a:xfrm>
        </p:spPr>
        <p:txBody>
          <a:bodyPr/>
          <a:lstStyle/>
          <a:p>
            <a:endParaRPr lang="en-GB" b="1" dirty="0">
              <a:hlinkClick r:id="rId2"/>
            </a:endParaRPr>
          </a:p>
          <a:p>
            <a:pPr>
              <a:buNone/>
            </a:pPr>
            <a:endParaRPr lang="en-A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4EA5CD-2F7E-2646-965C-78EB40AED0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458F005-E6A6-5249-882E-2C13B79BA17C}"/>
              </a:ext>
            </a:extLst>
          </p:cNvPr>
          <p:cNvSpPr txBox="1">
            <a:spLocks/>
          </p:cNvSpPr>
          <p:nvPr/>
        </p:nvSpPr>
        <p:spPr bwMode="gray">
          <a:xfrm>
            <a:off x="495300" y="1232034"/>
            <a:ext cx="11315699" cy="46680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8788" indent="-2301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14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14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endParaRPr lang="en-AD" dirty="0"/>
          </a:p>
          <a:p>
            <a:pPr>
              <a:buNone/>
            </a:pPr>
            <a:r>
              <a:rPr lang="en-AD" dirty="0"/>
              <a:t>Sample Config Server App: </a:t>
            </a:r>
            <a:r>
              <a:rPr lang="en-GB" dirty="0">
                <a:hlinkClick r:id="rId3"/>
              </a:rPr>
              <a:t>https://github.optum.com/kvinod6/spring-cloud-poc/tree/master/spring-cloud-config-app</a:t>
            </a:r>
            <a:endParaRPr lang="en-GB" dirty="0"/>
          </a:p>
          <a:p>
            <a:pPr>
              <a:buNone/>
            </a:pPr>
            <a:r>
              <a:rPr lang="en-GB" dirty="0"/>
              <a:t>Sample Config Git Repos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ev: </a:t>
            </a:r>
            <a:r>
              <a:rPr lang="en-GB" dirty="0">
                <a:hlinkClick r:id="rId4"/>
              </a:rPr>
              <a:t>https://github.optum.com/kvinod6/spring-cloud-config-repo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XAAS: </a:t>
            </a:r>
            <a:r>
              <a:rPr lang="en-GB" dirty="0">
                <a:hlinkClick r:id="rId5"/>
              </a:rPr>
              <a:t>https://github.optum.com/kvinod6/spring-cloud-config-repo-xass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Non Prod: </a:t>
            </a:r>
            <a:r>
              <a:rPr lang="en-GB" dirty="0">
                <a:hlinkClick r:id="rId6"/>
              </a:rPr>
              <a:t>https://github.optum.com/kvinod6/spring-cloud-config-repo-stage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Prod: </a:t>
            </a:r>
            <a:r>
              <a:rPr lang="en-GB" dirty="0">
                <a:hlinkClick r:id="rId7"/>
              </a:rPr>
              <a:t>https://github.optum.com/kvinod6/spring-cloud-config-repo-production</a:t>
            </a:r>
            <a:endParaRPr lang="en-AD" dirty="0"/>
          </a:p>
          <a:p>
            <a:pPr>
              <a:buNone/>
            </a:pPr>
            <a:endParaRPr lang="en-AD" dirty="0"/>
          </a:p>
        </p:txBody>
      </p:sp>
    </p:spTree>
    <p:extLst>
      <p:ext uri="{BB962C8B-B14F-4D97-AF65-F5344CB8AC3E}">
        <p14:creationId xmlns:p14="http://schemas.microsoft.com/office/powerpoint/2010/main" val="17954792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D5109-9B61-4949-9C87-86B480478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8C4BBE-C49A-4E45-B6F1-C754CE5F23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3100388" y="6486983"/>
            <a:ext cx="53149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A41471-A776-8845-80D7-D89793332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448675" y="6486983"/>
            <a:ext cx="40685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10D8EA-3107-4873-B9AB-DD7D3E79053A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CDA118-CBA0-5943-BE11-66D0C3833E53}"/>
              </a:ext>
            </a:extLst>
          </p:cNvPr>
          <p:cNvSpPr txBox="1"/>
          <p:nvPr/>
        </p:nvSpPr>
        <p:spPr>
          <a:xfrm>
            <a:off x="442927" y="1351004"/>
            <a:ext cx="84126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* </a:t>
            </a:r>
            <a:r>
              <a:rPr lang="en-GB" dirty="0">
                <a:hlinkClick r:id="rId2"/>
              </a:rPr>
              <a:t>Spring Config Server</a:t>
            </a:r>
            <a:br>
              <a:rPr lang="en-GB" dirty="0"/>
            </a:br>
            <a:r>
              <a:rPr lang="en-GB" dirty="0"/>
              <a:t>* </a:t>
            </a:r>
            <a:r>
              <a:rPr lang="en-GB" dirty="0">
                <a:hlinkClick r:id="rId3"/>
              </a:rPr>
              <a:t>Service Registry (Eureka)</a:t>
            </a:r>
            <a:br>
              <a:rPr lang="en-GB" dirty="0"/>
            </a:br>
            <a:r>
              <a:rPr lang="en-GB" dirty="0"/>
              <a:t>* </a:t>
            </a:r>
            <a:r>
              <a:rPr lang="en-GB" dirty="0">
                <a:hlinkClick r:id="rId4"/>
              </a:rPr>
              <a:t>Load Balancing with Zuul 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5912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987942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B3304425-8DE3-2D46-8818-96AD1FF314E1}"/>
              </a:ext>
            </a:extLst>
          </p:cNvPr>
          <p:cNvSpPr txBox="1"/>
          <p:nvPr/>
        </p:nvSpPr>
        <p:spPr>
          <a:xfrm>
            <a:off x="4044195" y="1585215"/>
            <a:ext cx="5729069" cy="431908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5BCA0C-35C2-9241-B796-E01CDB5399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952" y="0"/>
            <a:ext cx="11315700" cy="1074058"/>
          </a:xfrm>
        </p:spPr>
        <p:txBody>
          <a:bodyPr/>
          <a:lstStyle/>
          <a:p>
            <a:r>
              <a:rPr lang="en-US" dirty="0"/>
              <a:t>Microservices – Benefits and 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9B7365-652A-C143-A1D1-E059797CB3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0954" y="1671150"/>
            <a:ext cx="2760831" cy="3193847"/>
          </a:xfrm>
          <a:ln>
            <a:noFill/>
          </a:ln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Independent deploy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Independent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Small, focused te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Fault isolation</a:t>
            </a:r>
          </a:p>
          <a:p>
            <a:pPr marL="515938" lvl="1" indent="-285750"/>
            <a:r>
              <a:rPr lang="en-US" sz="1400" dirty="0"/>
              <a:t>follow resiliency best practices and design patterns</a:t>
            </a:r>
            <a:endParaRPr lang="en-US" sz="1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Mixed technology sta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Granular scaling</a:t>
            </a:r>
          </a:p>
          <a:p>
            <a:pPr marL="515938" lvl="1" indent="-285750"/>
            <a:r>
              <a:rPr lang="en-US" sz="1400" dirty="0"/>
              <a:t>Services can be scaled independently</a:t>
            </a:r>
            <a:endParaRPr lang="en-US" sz="1200" b="1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038CAF9-1F87-7C44-9037-BA0BE11D27F0}"/>
              </a:ext>
            </a:extLst>
          </p:cNvPr>
          <p:cNvSpPr txBox="1">
            <a:spLocks/>
          </p:cNvSpPr>
          <p:nvPr/>
        </p:nvSpPr>
        <p:spPr bwMode="gray">
          <a:xfrm>
            <a:off x="4122019" y="1671149"/>
            <a:ext cx="2788595" cy="4319080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Complexity</a:t>
            </a:r>
          </a:p>
          <a:p>
            <a:pPr marL="515938" lvl="1" indent="-285750"/>
            <a:r>
              <a:rPr lang="en-US" sz="1400" dirty="0"/>
              <a:t>Many moving pa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Development and test</a:t>
            </a:r>
          </a:p>
          <a:p>
            <a:pPr marL="515938" lvl="1" indent="-285750"/>
            <a:r>
              <a:rPr lang="en-US" sz="1400" dirty="0"/>
              <a:t>Identify service boundaries</a:t>
            </a:r>
          </a:p>
          <a:p>
            <a:pPr marL="515938" lvl="1" indent="-285750"/>
            <a:r>
              <a:rPr lang="en-US" sz="1400" dirty="0"/>
              <a:t>test service dependen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Lack of governance</a:t>
            </a:r>
          </a:p>
          <a:p>
            <a:pPr marL="515938" lvl="1" indent="-285750"/>
            <a:r>
              <a:rPr lang="en-US" sz="1400" dirty="0"/>
              <a:t>project-wide stand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Network congestion and latency</a:t>
            </a:r>
          </a:p>
          <a:p>
            <a:pPr marL="515938" lvl="1" indent="-285750"/>
            <a:r>
              <a:rPr lang="en-US" sz="1400" dirty="0"/>
              <a:t>Inter-service communication</a:t>
            </a:r>
          </a:p>
          <a:p>
            <a:pPr marL="515938" lvl="1" indent="-285750"/>
            <a:r>
              <a:rPr lang="en-US" sz="1400" dirty="0"/>
              <a:t>additional latency if chain of service dependencies gets too long</a:t>
            </a:r>
          </a:p>
          <a:p>
            <a:pPr marL="515938" lvl="1" indent="-285750"/>
            <a:r>
              <a:rPr lang="en-US" sz="1400" dirty="0"/>
              <a:t>overly chatty APIs - favor asynchronous communication patter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132A51-4D14-EB42-9590-4D0E367DAD5B}"/>
              </a:ext>
            </a:extLst>
          </p:cNvPr>
          <p:cNvSpPr txBox="1"/>
          <p:nvPr/>
        </p:nvSpPr>
        <p:spPr>
          <a:xfrm>
            <a:off x="6028639" y="1131592"/>
            <a:ext cx="13618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u="sng" dirty="0"/>
              <a:t>Challenges</a:t>
            </a:r>
            <a:endParaRPr lang="en-US" b="1" u="sng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EB55762-4DF7-BE42-BE84-1543A1408A79}"/>
              </a:ext>
            </a:extLst>
          </p:cNvPr>
          <p:cNvSpPr txBox="1">
            <a:spLocks/>
          </p:cNvSpPr>
          <p:nvPr/>
        </p:nvSpPr>
        <p:spPr bwMode="gray">
          <a:xfrm>
            <a:off x="7251082" y="1671149"/>
            <a:ext cx="2183151" cy="4319080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Data integrity</a:t>
            </a:r>
          </a:p>
          <a:p>
            <a:pPr marL="515938" lvl="1" indent="-285750"/>
            <a:r>
              <a:rPr lang="en-US" sz="1400" dirty="0"/>
              <a:t>eventual consist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Management</a:t>
            </a:r>
          </a:p>
          <a:p>
            <a:pPr marL="515938" lvl="1" indent="-285750"/>
            <a:r>
              <a:rPr lang="en-US" sz="1400" dirty="0"/>
              <a:t>Mature DevOps culture</a:t>
            </a:r>
          </a:p>
          <a:p>
            <a:pPr marL="515938" lvl="1" indent="-285750"/>
            <a:r>
              <a:rPr lang="en-US" sz="1400" dirty="0"/>
              <a:t>Configuration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Versioning</a:t>
            </a:r>
          </a:p>
          <a:p>
            <a:pPr marL="515938" lvl="1" indent="-285750"/>
            <a:r>
              <a:rPr lang="en-US" sz="1400" dirty="0"/>
              <a:t>Multiple services could be updated at any given time</a:t>
            </a:r>
          </a:p>
          <a:p>
            <a:pPr marL="515938" lvl="1" indent="-285750"/>
            <a:r>
              <a:rPr lang="en-US" sz="1400" dirty="0"/>
              <a:t>backward and forward compati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Team Skillset</a:t>
            </a:r>
            <a:endParaRPr lang="en-US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A74754-357B-234E-B653-0683ED58B1FE}"/>
              </a:ext>
            </a:extLst>
          </p:cNvPr>
          <p:cNvSpPr txBox="1"/>
          <p:nvPr/>
        </p:nvSpPr>
        <p:spPr>
          <a:xfrm>
            <a:off x="2000475" y="1131592"/>
            <a:ext cx="1005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u="sng" dirty="0"/>
              <a:t>Benefits</a:t>
            </a:r>
            <a:endParaRPr lang="en-US" b="1" u="sng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BBE3A1-C890-F740-9974-81F8A3462A8A}"/>
              </a:ext>
            </a:extLst>
          </p:cNvPr>
          <p:cNvSpPr txBox="1"/>
          <p:nvPr/>
        </p:nvSpPr>
        <p:spPr>
          <a:xfrm>
            <a:off x="1132587" y="1585215"/>
            <a:ext cx="2819198" cy="4285998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7BD88E-0C57-E543-975A-83F775BD5C10}"/>
              </a:ext>
            </a:extLst>
          </p:cNvPr>
          <p:cNvSpPr txBox="1"/>
          <p:nvPr/>
        </p:nvSpPr>
        <p:spPr>
          <a:xfrm>
            <a:off x="1024433" y="5913096"/>
            <a:ext cx="251543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u="sng" dirty="0"/>
              <a:t>Source</a:t>
            </a:r>
            <a:r>
              <a:rPr lang="en-US" sz="1000" b="1" dirty="0"/>
              <a:t>: </a:t>
            </a:r>
            <a:r>
              <a:rPr lang="en-US" sz="1000" dirty="0">
                <a:hlinkClick r:id="rId3"/>
              </a:rPr>
              <a:t>Microservices architecture style</a:t>
            </a:r>
            <a:r>
              <a:rPr lang="en-US" sz="1000" dirty="0"/>
              <a:t> 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EDB04668-4AB0-44D2-A700-4A4B6A771F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048001" y="6414340"/>
            <a:ext cx="8178408" cy="313241"/>
          </a:xfrm>
        </p:spPr>
        <p:txBody>
          <a:bodyPr/>
          <a:lstStyle/>
          <a:p>
            <a:pPr algn="r"/>
            <a:r>
              <a:rPr lang="en-US" dirty="0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17080253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18B4D-CC92-8D43-B8AF-AA1F65317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ervices Archite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5561D8-0015-F248-8A0D-910EA0790E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0" y="1305847"/>
            <a:ext cx="8487033" cy="452330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51FCB55-9B51-6D4B-9567-324435F4774B}"/>
              </a:ext>
            </a:extLst>
          </p:cNvPr>
          <p:cNvSpPr txBox="1"/>
          <p:nvPr/>
        </p:nvSpPr>
        <p:spPr>
          <a:xfrm>
            <a:off x="9425801" y="6072622"/>
            <a:ext cx="251543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u="sng" dirty="0"/>
              <a:t>Source</a:t>
            </a:r>
            <a:r>
              <a:rPr lang="en-US" sz="1000" b="1" dirty="0"/>
              <a:t>: </a:t>
            </a:r>
            <a:r>
              <a:rPr lang="en-US" sz="1000" dirty="0">
                <a:hlinkClick r:id="rId4"/>
              </a:rPr>
              <a:t>Microservices architecture style</a:t>
            </a:r>
            <a:r>
              <a:rPr lang="en-US" sz="1000" dirty="0"/>
              <a:t> 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0F6319E7-8FE1-4351-B31E-C0C4AB65C62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048001" y="6414340"/>
            <a:ext cx="8178408" cy="313241"/>
          </a:xfrm>
        </p:spPr>
        <p:txBody>
          <a:bodyPr/>
          <a:lstStyle/>
          <a:p>
            <a:pPr algn="r"/>
            <a:r>
              <a:rPr lang="en-US" dirty="0"/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B30D88-D02B-4AE4-BCAB-2AB23782F703}"/>
              </a:ext>
            </a:extLst>
          </p:cNvPr>
          <p:cNvSpPr txBox="1"/>
          <p:nvPr/>
        </p:nvSpPr>
        <p:spPr>
          <a:xfrm>
            <a:off x="9243073" y="1577008"/>
            <a:ext cx="2567927" cy="28931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popular architectural style for building applications that are resilient, highly scalable, independently deployable, and able to evolve quickly.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ists of a collection of small, autonomous services. Each service is self-contained and should implement a single business capability.</a:t>
            </a:r>
          </a:p>
        </p:txBody>
      </p:sp>
    </p:spTree>
    <p:extLst>
      <p:ext uri="{BB962C8B-B14F-4D97-AF65-F5344CB8AC3E}">
        <p14:creationId xmlns:p14="http://schemas.microsoft.com/office/powerpoint/2010/main" val="2953600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872320-888B-FB4E-A6D5-851E8C45E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D" dirty="0"/>
              <a:t>Config Server with Spring Boo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9E021D-4989-E146-9E06-3A3A6175F3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546493"/>
            <a:ext cx="11315700" cy="4498172"/>
          </a:xfrm>
        </p:spPr>
        <p:txBody>
          <a:bodyPr/>
          <a:lstStyle/>
          <a:p>
            <a:pPr marL="342900" indent="-342900">
              <a:buFont typeface="Wingdings" pitchFamily="2" charset="2"/>
              <a:buChar char="q"/>
            </a:pPr>
            <a:r>
              <a:rPr lang="en-GB" u="sng" dirty="0">
                <a:hlinkClick r:id="rId2"/>
              </a:rPr>
              <a:t>Spring Cloud Config Server</a:t>
            </a:r>
            <a:endParaRPr lang="en-GB" u="sng" dirty="0"/>
          </a:p>
          <a:p>
            <a:pPr marL="342900" indent="-342900">
              <a:buFont typeface="Wingdings" pitchFamily="2" charset="2"/>
              <a:buChar char="q"/>
            </a:pPr>
            <a:r>
              <a:rPr lang="en-GB" u="sng" dirty="0">
                <a:hlinkClick r:id="rId3"/>
              </a:rPr>
              <a:t>Serving Alternative Formats</a:t>
            </a:r>
            <a:endParaRPr lang="en-GB" u="sng" dirty="0"/>
          </a:p>
          <a:p>
            <a:pPr marL="342900" indent="-342900">
              <a:buFont typeface="Wingdings" pitchFamily="2" charset="2"/>
              <a:buChar char="q"/>
            </a:pPr>
            <a:r>
              <a:rPr lang="en-GB" u="sng" dirty="0">
                <a:hlinkClick r:id="rId4"/>
              </a:rPr>
              <a:t>Serving Plain Text</a:t>
            </a:r>
            <a:endParaRPr lang="en-GB" u="sng" dirty="0"/>
          </a:p>
          <a:p>
            <a:pPr marL="342900" indent="-342900">
              <a:buFont typeface="Wingdings" pitchFamily="2" charset="2"/>
              <a:buChar char="q"/>
            </a:pPr>
            <a:r>
              <a:rPr lang="en-GB" u="sng" dirty="0">
                <a:hlinkClick r:id="rId5"/>
              </a:rPr>
              <a:t>Embedding the Config Server</a:t>
            </a:r>
            <a:endParaRPr lang="en-GB" u="sng" dirty="0"/>
          </a:p>
          <a:p>
            <a:pPr marL="342900" indent="-342900">
              <a:buFont typeface="Wingdings" pitchFamily="2" charset="2"/>
              <a:buChar char="q"/>
            </a:pPr>
            <a:r>
              <a:rPr lang="en-GB" u="sng" dirty="0">
                <a:hlinkClick r:id="rId6"/>
              </a:rPr>
              <a:t>Push Notifications and Spring Cloud Bus</a:t>
            </a:r>
            <a:endParaRPr lang="en-GB" u="sng" dirty="0"/>
          </a:p>
          <a:p>
            <a:pPr marL="342900" indent="-342900">
              <a:buFont typeface="Wingdings" pitchFamily="2" charset="2"/>
              <a:buChar char="q"/>
            </a:pPr>
            <a:r>
              <a:rPr lang="en-GB" u="sng" dirty="0">
                <a:hlinkClick r:id="rId7"/>
              </a:rPr>
              <a:t>Spring Cloud Config Client</a:t>
            </a:r>
            <a:endParaRPr lang="en-GB" u="sng" dirty="0"/>
          </a:p>
          <a:p>
            <a:endParaRPr lang="en-A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845C35-5F4E-8540-A2CF-8BA42745B6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7306914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C4AB81-A973-174D-8FB0-0C6B986DF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D" dirty="0"/>
              <a:t>Spring Cloud Config Serv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53FF2C-2A56-4E4D-9610-E23142EA2B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53415"/>
            <a:ext cx="11315700" cy="4446642"/>
          </a:xfrm>
        </p:spPr>
        <p:txBody>
          <a:bodyPr/>
          <a:lstStyle/>
          <a:p>
            <a:pPr>
              <a:buNone/>
            </a:pPr>
            <a:endParaRPr lang="en-AD" dirty="0"/>
          </a:p>
          <a:p>
            <a:pPr marL="342900" indent="-342900">
              <a:buFont typeface="Wingdings" pitchFamily="2" charset="2"/>
              <a:buChar char="v"/>
            </a:pPr>
            <a:r>
              <a:rPr lang="en-AD" dirty="0"/>
              <a:t>Types of Repositories </a:t>
            </a:r>
          </a:p>
          <a:p>
            <a:pPr marL="342900" indent="-342900">
              <a:buFont typeface="Wingdings" pitchFamily="2" charset="2"/>
              <a:buChar char="v"/>
            </a:pPr>
            <a:r>
              <a:rPr lang="en-AD" dirty="0"/>
              <a:t>Sample Spring Boot Config Server Application and Using GIT as Backend</a:t>
            </a:r>
          </a:p>
          <a:p>
            <a:pPr marL="342900" indent="-342900">
              <a:buFont typeface="Wingdings" pitchFamily="2" charset="2"/>
              <a:buChar char="v"/>
            </a:pPr>
            <a:r>
              <a:rPr lang="en-AD" dirty="0"/>
              <a:t>Enabling Security</a:t>
            </a:r>
          </a:p>
          <a:p>
            <a:pPr marL="342900" indent="-342900">
              <a:buFont typeface="Wingdings" pitchFamily="2" charset="2"/>
              <a:buChar char="v"/>
            </a:pPr>
            <a:r>
              <a:rPr lang="en-AD" dirty="0"/>
              <a:t>Encryption and Decryption, Key Management, Using Key Store for Encryption/Decryption, Key Rotation</a:t>
            </a:r>
          </a:p>
          <a:p>
            <a:pPr marL="342900" indent="-342900">
              <a:buFont typeface="Wingdings" pitchFamily="2" charset="2"/>
              <a:buChar char="v"/>
            </a:pPr>
            <a:r>
              <a:rPr lang="en-AD" dirty="0"/>
              <a:t>Serving Encrypted Properties</a:t>
            </a:r>
          </a:p>
          <a:p>
            <a:pPr>
              <a:buNone/>
            </a:pPr>
            <a:endParaRPr lang="en-A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97DE16-AC0B-D04C-BC75-DC58BFE3F9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4114903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D1187-60D0-414D-9E05-F42618FCA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AD" dirty="0"/>
              <a:t>Types of Repositor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D24C2F-94F0-C74D-B87B-B430661B21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328286"/>
            <a:ext cx="11315700" cy="457177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AD" dirty="0"/>
              <a:t>Git Backend</a:t>
            </a:r>
          </a:p>
          <a:p>
            <a:pPr marL="457200" indent="-457200">
              <a:buFont typeface="+mj-lt"/>
              <a:buAutoNum type="arabicPeriod"/>
            </a:pPr>
            <a:r>
              <a:rPr lang="en-AD" dirty="0"/>
              <a:t>Version Control Filesystem (SVN)</a:t>
            </a:r>
          </a:p>
          <a:p>
            <a:pPr marL="457200" indent="-457200">
              <a:buFont typeface="+mj-lt"/>
              <a:buAutoNum type="arabicPeriod"/>
            </a:pPr>
            <a:r>
              <a:rPr lang="en-AD" dirty="0"/>
              <a:t>Vault Backend</a:t>
            </a:r>
          </a:p>
          <a:p>
            <a:pPr marL="457200" indent="-457200">
              <a:buFont typeface="+mj-lt"/>
              <a:buAutoNum type="arabicPeriod"/>
            </a:pPr>
            <a:r>
              <a:rPr lang="en-AD" dirty="0"/>
              <a:t>JDBC Backend</a:t>
            </a:r>
          </a:p>
          <a:p>
            <a:pPr marL="457200" indent="-457200">
              <a:buFont typeface="+mj-lt"/>
              <a:buAutoNum type="arabicPeriod"/>
            </a:pPr>
            <a:r>
              <a:rPr lang="en-AD" dirty="0"/>
              <a:t>Radis Backend</a:t>
            </a:r>
          </a:p>
          <a:p>
            <a:pPr marL="457200" indent="-457200">
              <a:buFont typeface="+mj-lt"/>
              <a:buAutoNum type="arabicPeriod"/>
            </a:pPr>
            <a:r>
              <a:rPr lang="en-AD" dirty="0"/>
              <a:t>AWS S3 Backend</a:t>
            </a:r>
          </a:p>
          <a:p>
            <a:pPr marL="457200" indent="-457200">
              <a:buFont typeface="+mj-lt"/>
              <a:buAutoNum type="arabicPeriod"/>
            </a:pPr>
            <a:r>
              <a:rPr lang="en-AD" dirty="0"/>
              <a:t>CredHub Backend</a:t>
            </a:r>
          </a:p>
          <a:p>
            <a:pPr marL="457200" indent="-457200">
              <a:buFont typeface="+mj-lt"/>
              <a:buAutoNum type="arabicPeriod"/>
            </a:pPr>
            <a:r>
              <a:rPr lang="en-AD" dirty="0"/>
              <a:t>Composite Environm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5F794A-113F-8B4A-A0F3-A089C483A4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2284276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E46F93-582D-9543-90FB-5E3811BFA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D" dirty="0"/>
              <a:t>Sample Spring Boot Config Server Applicatio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72FD2E-3E42-634B-A94F-D3B5381D71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pic>
        <p:nvPicPr>
          <p:cNvPr id="6" name="Picture 5" descr="A picture containing table&#10;&#10;Description automatically generated">
            <a:extLst>
              <a:ext uri="{FF2B5EF4-FFF2-40B4-BE49-F238E27FC236}">
                <a16:creationId xmlns:a16="http://schemas.microsoft.com/office/drawing/2014/main" id="{37DE7DE9-6843-0545-B4FF-71AE55FBFD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550" y="2038856"/>
            <a:ext cx="11355450" cy="250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103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8FA77-91BF-8C4D-A602-16BABB79C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AD" dirty="0"/>
              <a:t>Git as Backe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E5E7FE-97AC-A440-B9A0-CA8667DB8D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232034"/>
            <a:ext cx="11315700" cy="4668023"/>
          </a:xfrm>
        </p:spPr>
        <p:txBody>
          <a:bodyPr/>
          <a:lstStyle/>
          <a:p>
            <a:endParaRPr lang="en-GB" b="1" dirty="0">
              <a:hlinkClick r:id="rId2"/>
            </a:endParaRPr>
          </a:p>
          <a:p>
            <a:pPr>
              <a:buNone/>
            </a:pPr>
            <a:endParaRPr lang="en-A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4EA5CD-2F7E-2646-965C-78EB40AED0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19 Optum, Inc. All rights reserved. Confidential property of Optum. Do not distribute or reproduce without express permission from Optum.</a:t>
            </a:r>
          </a:p>
        </p:txBody>
      </p:sp>
      <p:pic>
        <p:nvPicPr>
          <p:cNvPr id="14" name="Picture 13" descr="application.yml">
            <a:extLst>
              <a:ext uri="{FF2B5EF4-FFF2-40B4-BE49-F238E27FC236}">
                <a16:creationId xmlns:a16="http://schemas.microsoft.com/office/drawing/2014/main" id="{20CACE65-846E-9F47-AC23-3BED65F8836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330845"/>
            <a:ext cx="11315700" cy="22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6875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20b2464-b6f1-4410-9e9c-9bb6b2c0634a"/>
  <p:tag name="MIO_LOGOPLACEHOLDER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ee5c143-d429-4b29-9890-eda987ab2304"/>
  <p:tag name="MIO_LOGOPLACEHOLDER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5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0"/>
  <p:tag name="MIO_HDS" val="True"/>
  <p:tag name="MIO_SKIPVERSION" val="01.01.0001 00:00:00"/>
  <p:tag name="MIO_EKGUID" val="6a645508-c274-414b-b194-88fb038b781a"/>
  <p:tag name="MIO_UPDATE" val="True"/>
  <p:tag name="MIO_VERSION" val="10.06.2019 16:05:23"/>
  <p:tag name="MIO_DBID" val="105C9A49-0F00-47E0-A9B9-86E2A99454C8"/>
  <p:tag name="MIO_LASTDOWNLOADED" val="10.06.2019 16:05:26"/>
  <p:tag name="MIO_OBJECTNAME" val="Optum Wide"/>
  <p:tag name="MIO_LASTEDITORNAME" val="Charlotte Bartholomew"/>
  <p:tag name="MIO_CDID" val="451eeb19-c04f-4baa-b219-473a5b7aed7c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Watermark;Add a watermark (examples: Confidential, Draft, Sample)"/>
  <p:tag name="MIO_USER_INPUT_OPTIONAL" val=" "/>
  <p:tag name="MIO_USER_INPUT_TEXT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20b2464-b6f1-4410-9e9c-9bb6b2c0634a"/>
  <p:tag name="MIO_LOGOPLACEHOLDER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LOGOPLACEHOLDER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heme/theme1.xml><?xml version="1.0" encoding="utf-8"?>
<a:theme xmlns:a="http://schemas.openxmlformats.org/drawingml/2006/main" name="Default Theme">
  <a:themeElements>
    <a:clrScheme name="Optum - Empower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EA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00549F"/>
      </a:hlink>
      <a:folHlink>
        <a:srgbClr val="00549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rnd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 rtl="0" eaLnBrk="1" fontAlgn="auto" hangingPunct="1">
          <a:lnSpc>
            <a:spcPct val="90000"/>
          </a:lnSpc>
          <a:spcBef>
            <a:spcPts val="0"/>
          </a:spcBef>
          <a:spcAft>
            <a:spcPts val="400"/>
          </a:spcAft>
          <a:defRPr sz="1400" b="0" i="0" u="none" baseline="0" dirty="0" smtClean="0">
            <a:solidFill>
              <a:srgbClr val="55565A"/>
            </a:solidFill>
            <a:latin typeface="Arial"/>
          </a:defRPr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ptum Template Widescreen - 2017 - 06.27.17.potx" id="{14CCB6DF-C717-4413-BCDA-15B71AA5CDD8}" vid="{817E4C5E-750D-4B97-8ADE-F637BD8C07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8E6CAA81EF3A44BA4646087124E6A2" ma:contentTypeVersion="38" ma:contentTypeDescription="Create a new document." ma:contentTypeScope="" ma:versionID="a8b961dbe2fffac8d14fbecd4080d90b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62b37e1f0a60323fad4d4a88590589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4.xml><?xml version="1.0" encoding="utf-8"?>
<?mso-contentType ?>
<spe:Receivers xmlns:spe="http://schemas.microsoft.com/sharepoint/events">
  <Receiver>
    <Name/>
    <Synchronization>Asynchronous</Synchronization>
    <Type>10003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  <Receiver>
    <Name/>
    <Synchronization>Asynchronous</Synchronization>
    <Type>10002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</spe:Receivers>
</file>

<file path=customXml/itemProps1.xml><?xml version="1.0" encoding="utf-8"?>
<ds:datastoreItem xmlns:ds="http://schemas.openxmlformats.org/officeDocument/2006/customXml" ds:itemID="{17B1565A-CD89-4ACE-92D3-071F351F4AD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A7178B-37CA-4F8B-9282-B6CC98B927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88AE6FE-D59E-4B97-9295-912DDF23EFC6}">
  <ds:schemaRefs>
    <ds:schemaRef ds:uri="http://schemas.microsoft.com/office/2006/documentManagement/types"/>
    <ds:schemaRef ds:uri="http://schemas.openxmlformats.org/package/2006/metadata/core-properties"/>
    <ds:schemaRef ds:uri="http://schemas.microsoft.com/sharepoint/v3"/>
    <ds:schemaRef ds:uri="http://schemas.microsoft.com/office/2006/metadata/properties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F7C2C1C3-0A1A-4DA7-8C61-5F50FDD14F31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7174</TotalTime>
  <Words>1965</Words>
  <Application>Microsoft Macintosh PowerPoint</Application>
  <PresentationFormat>Widescreen</PresentationFormat>
  <Paragraphs>197</Paragraphs>
  <Slides>23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Arial</vt:lpstr>
      <vt:lpstr>Arial Narrow</vt:lpstr>
      <vt:lpstr>Calibri</vt:lpstr>
      <vt:lpstr>Wingdings</vt:lpstr>
      <vt:lpstr>Default Theme</vt:lpstr>
      <vt:lpstr>Centralized Configuration and Service Registry/Discovery with Spring Boot</vt:lpstr>
      <vt:lpstr>Introduction</vt:lpstr>
      <vt:lpstr>Microservices – Benefits and Challenges</vt:lpstr>
      <vt:lpstr>Microservices Architecture</vt:lpstr>
      <vt:lpstr>Config Server with Spring Boot</vt:lpstr>
      <vt:lpstr>Spring Cloud Config Server</vt:lpstr>
      <vt:lpstr>Types of Repositories</vt:lpstr>
      <vt:lpstr>Sample Spring Boot Config Server Application</vt:lpstr>
      <vt:lpstr>Git as Backend</vt:lpstr>
      <vt:lpstr>Git as Backend</vt:lpstr>
      <vt:lpstr>Enable Security</vt:lpstr>
      <vt:lpstr>Encryption and Decryption</vt:lpstr>
      <vt:lpstr>Serving Encrypted Properties</vt:lpstr>
      <vt:lpstr>Serving Alternative Formats</vt:lpstr>
      <vt:lpstr>Service Plain Text</vt:lpstr>
      <vt:lpstr>Embedding Config Server</vt:lpstr>
      <vt:lpstr>Push Notifications and Spring Cloud Bus</vt:lpstr>
      <vt:lpstr>Spring Cloud Config Client</vt:lpstr>
      <vt:lpstr>Service Registry with Eureka</vt:lpstr>
      <vt:lpstr>Proxy Config with Zuul</vt:lpstr>
      <vt:lpstr>Spring POC GIT Repos</vt:lpstr>
      <vt:lpstr>References</vt:lpstr>
      <vt:lpstr>PowerPoint Presentation</vt:lpstr>
    </vt:vector>
  </TitlesOfParts>
  <Company>UnitedHealt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slam, Mohammed Maidul</dc:creator>
  <cp:lastModifiedBy>Vinod, Kakumani</cp:lastModifiedBy>
  <cp:revision>126</cp:revision>
  <dcterms:created xsi:type="dcterms:W3CDTF">2019-06-11T18:23:50Z</dcterms:created>
  <dcterms:modified xsi:type="dcterms:W3CDTF">2020-06-16T13:0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8E6CAA81EF3A44BA4646087124E6A2</vt:lpwstr>
  </property>
</Properties>
</file>